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1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notesSlides/notesSlide4.xml" ContentType="application/vnd.openxmlformats-officedocument.presentationml.notesSlide+xml"/>
  <Override PartName="/ppt/tags/tag66.xml" ContentType="application/vnd.openxmlformats-officedocument.presentationml.tags+xml"/>
  <Override PartName="/ppt/notesSlides/notesSlide5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0.xml" ContentType="application/vnd.openxmlformats-officedocument.presentationml.notesSlide+xml"/>
  <Override PartName="/ppt/tags/tag76.xml" ContentType="application/vnd.openxmlformats-officedocument.presentationml.tags+xml"/>
  <Override PartName="/ppt/notesSlides/notesSlide1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0" r:id="rId2"/>
    <p:sldMasterId id="2147483662" r:id="rId3"/>
    <p:sldMasterId id="2147483670" r:id="rId4"/>
  </p:sldMasterIdLst>
  <p:notesMasterIdLst>
    <p:notesMasterId r:id="rId55"/>
  </p:notesMasterIdLst>
  <p:handoutMasterIdLst>
    <p:handoutMasterId r:id="rId56"/>
  </p:handoutMasterIdLst>
  <p:sldIdLst>
    <p:sldId id="256" r:id="rId5"/>
    <p:sldId id="302" r:id="rId6"/>
    <p:sldId id="303" r:id="rId7"/>
    <p:sldId id="258" r:id="rId8"/>
    <p:sldId id="300" r:id="rId9"/>
    <p:sldId id="306" r:id="rId10"/>
    <p:sldId id="305" r:id="rId11"/>
    <p:sldId id="307" r:id="rId12"/>
    <p:sldId id="308" r:id="rId13"/>
    <p:sldId id="309" r:id="rId14"/>
    <p:sldId id="310" r:id="rId15"/>
    <p:sldId id="311" r:id="rId16"/>
    <p:sldId id="312" r:id="rId17"/>
    <p:sldId id="313" r:id="rId18"/>
    <p:sldId id="314" r:id="rId19"/>
    <p:sldId id="315" r:id="rId20"/>
    <p:sldId id="316" r:id="rId21"/>
    <p:sldId id="317" r:id="rId22"/>
    <p:sldId id="318" r:id="rId23"/>
    <p:sldId id="319" r:id="rId24"/>
    <p:sldId id="320" r:id="rId25"/>
    <p:sldId id="321" r:id="rId26"/>
    <p:sldId id="322" r:id="rId27"/>
    <p:sldId id="323" r:id="rId28"/>
    <p:sldId id="324" r:id="rId29"/>
    <p:sldId id="325" r:id="rId30"/>
    <p:sldId id="326" r:id="rId31"/>
    <p:sldId id="327" r:id="rId32"/>
    <p:sldId id="328" r:id="rId33"/>
    <p:sldId id="329" r:id="rId34"/>
    <p:sldId id="330" r:id="rId35"/>
    <p:sldId id="331" r:id="rId36"/>
    <p:sldId id="332" r:id="rId37"/>
    <p:sldId id="347" r:id="rId38"/>
    <p:sldId id="349" r:id="rId39"/>
    <p:sldId id="350" r:id="rId40"/>
    <p:sldId id="351" r:id="rId41"/>
    <p:sldId id="335" r:id="rId42"/>
    <p:sldId id="352" r:id="rId43"/>
    <p:sldId id="336" r:id="rId44"/>
    <p:sldId id="337" r:id="rId45"/>
    <p:sldId id="338" r:id="rId46"/>
    <p:sldId id="339" r:id="rId47"/>
    <p:sldId id="340" r:id="rId48"/>
    <p:sldId id="341" r:id="rId49"/>
    <p:sldId id="342" r:id="rId50"/>
    <p:sldId id="353" r:id="rId51"/>
    <p:sldId id="344" r:id="rId52"/>
    <p:sldId id="345" r:id="rId53"/>
    <p:sldId id="346" r:id="rId54"/>
  </p:sldIdLst>
  <p:sldSz cx="12192000" cy="6858000"/>
  <p:notesSz cx="6858000" cy="9144000"/>
  <p:custDataLst>
    <p:tags r:id="rId57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094C4F6-E099-4B8E-BD98-24522E39B951}">
          <p14:sldIdLst>
            <p14:sldId id="256"/>
            <p14:sldId id="302"/>
            <p14:sldId id="303"/>
            <p14:sldId id="258"/>
            <p14:sldId id="300"/>
          </p14:sldIdLst>
        </p14:section>
        <p14:section name="Axxiome Template Slides" id="{381E6A41-C81C-4D61-AE8A-F4BB1938A3E4}">
          <p14:sldIdLst>
            <p14:sldId id="306"/>
            <p14:sldId id="305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47"/>
            <p14:sldId id="349"/>
            <p14:sldId id="350"/>
            <p14:sldId id="351"/>
            <p14:sldId id="335"/>
            <p14:sldId id="352"/>
            <p14:sldId id="336"/>
            <p14:sldId id="337"/>
            <p14:sldId id="338"/>
            <p14:sldId id="339"/>
            <p14:sldId id="340"/>
            <p14:sldId id="341"/>
            <p14:sldId id="342"/>
            <p14:sldId id="353"/>
            <p14:sldId id="344"/>
            <p14:sldId id="345"/>
            <p14:sldId id="3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21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890" userDrawn="1">
          <p15:clr>
            <a:srgbClr val="A4A3A4"/>
          </p15:clr>
        </p15:guide>
        <p15:guide id="4" orient="horz" pos="3747" userDrawn="1">
          <p15:clr>
            <a:srgbClr val="A4A3A4"/>
          </p15:clr>
        </p15:guide>
        <p15:guide id="5" pos="212" userDrawn="1">
          <p15:clr>
            <a:srgbClr val="A4A3A4"/>
          </p15:clr>
        </p15:guide>
        <p15:guide id="6" pos="74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Łukasz Najgebaur" initials="ŁN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ACE5"/>
    <a:srgbClr val="335182"/>
    <a:srgbClr val="000000"/>
    <a:srgbClr val="E0E0E0"/>
    <a:srgbClr val="FFFFFF"/>
    <a:srgbClr val="B3D5F2"/>
    <a:srgbClr val="F2F2F2"/>
    <a:srgbClr val="0072CF"/>
    <a:srgbClr val="002663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9255" autoAdjust="0"/>
  </p:normalViewPr>
  <p:slideViewPr>
    <p:cSldViewPr>
      <p:cViewPr varScale="1">
        <p:scale>
          <a:sx n="96" d="100"/>
          <a:sy n="96" d="100"/>
        </p:scale>
        <p:origin x="86" y="139"/>
      </p:cViewPr>
      <p:guideLst>
        <p:guide orient="horz" pos="321"/>
        <p:guide pos="3840"/>
        <p:guide orient="horz" pos="890"/>
        <p:guide orient="horz" pos="3747"/>
        <p:guide pos="212"/>
        <p:guide pos="74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00" d="100"/>
          <a:sy n="100" d="100"/>
        </p:scale>
        <p:origin x="-35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698129251700681E-2"/>
          <c:y val="2.1874999999999999E-2"/>
          <c:w val="0.94060374149659864"/>
          <c:h val="0.891640501968503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cat>
            <c:strRef>
              <c:f>Tabelle1!$A$2:$A$6</c:f>
              <c:strCache>
                <c:ptCount val="5"/>
                <c:pt idx="0">
                  <c:v>Total</c:v>
                </c:pt>
                <c:pt idx="1">
                  <c:v>A</c:v>
                </c:pt>
                <c:pt idx="2">
                  <c:v>B</c:v>
                </c:pt>
                <c:pt idx="3">
                  <c:v>C</c:v>
                </c:pt>
                <c:pt idx="4">
                  <c:v>D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1">
                  <c:v>80</c:v>
                </c:pt>
                <c:pt idx="2">
                  <c:v>7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36-4A69-A595-BB24BCFB748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2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AA36-4A69-A595-BB24BCFB7487}"/>
              </c:ext>
            </c:extLst>
          </c:dPt>
          <c:dLbls>
            <c:dLbl>
              <c:idx val="0"/>
              <c:layout>
                <c:manualLayout>
                  <c:x val="2.6996173469387755E-3"/>
                  <c:y val="-0.40312524606299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A36-4A69-A595-BB24BCFB748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Total</c:v>
                </c:pt>
                <c:pt idx="1">
                  <c:v>A</c:v>
                </c:pt>
                <c:pt idx="2">
                  <c:v>B</c:v>
                </c:pt>
                <c:pt idx="3">
                  <c:v>C</c:v>
                </c:pt>
                <c:pt idx="4">
                  <c:v>D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36-4A69-A595-BB24BCFB748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palte3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Total</c:v>
                </c:pt>
                <c:pt idx="1">
                  <c:v>A</c:v>
                </c:pt>
                <c:pt idx="2">
                  <c:v>B</c:v>
                </c:pt>
                <c:pt idx="3">
                  <c:v>C</c:v>
                </c:pt>
                <c:pt idx="4">
                  <c:v>D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1">
                  <c:v>20</c:v>
                </c:pt>
                <c:pt idx="2">
                  <c:v>10</c:v>
                </c:pt>
                <c:pt idx="3">
                  <c:v>5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36-4A69-A595-BB24BCFB74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89063000"/>
        <c:axId val="489063392"/>
      </c:barChart>
      <c:catAx>
        <c:axId val="48906300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489063392"/>
        <c:crosses val="autoZero"/>
        <c:auto val="1"/>
        <c:lblAlgn val="ctr"/>
        <c:lblOffset val="100"/>
        <c:noMultiLvlLbl val="0"/>
      </c:catAx>
      <c:valAx>
        <c:axId val="4890633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89063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 b="1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93042-758A-49CD-BAD5-083594A11F1C}" type="datetimeFigureOut">
              <a:rPr lang="pl-PL" smtClean="0"/>
              <a:pPr/>
              <a:t>2017-11-02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42DC47-C9B7-4085-A55B-D07206227ABF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4358849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100" b="1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defRPr>
            </a:lvl1pPr>
          </a:lstStyle>
          <a:p>
            <a:fld id="{E0DC679B-8D6F-4CA1-87DA-3C79AC842C3D}" type="datetimeFigureOut">
              <a:rPr lang="pl-PL" smtClean="0"/>
              <a:pPr/>
              <a:t>2017-11-02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2801156" y="8770995"/>
            <a:ext cx="1255689" cy="2269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defRPr>
            </a:lvl1pPr>
          </a:lstStyle>
          <a:p>
            <a:fld id="{F5C42037-699C-48C8-9EC4-F362546A8197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8714967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228600" indent="-228600" algn="l" defTabSz="914400" rtl="0" eaLnBrk="1" latinLnBrk="0" hangingPunct="1">
      <a:buFont typeface="+mj-lt"/>
      <a:buNone/>
      <a:defRPr sz="11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228600" indent="-228600" algn="l" defTabSz="914400" rtl="0" eaLnBrk="1" latinLnBrk="0" hangingPunct="1">
      <a:buFont typeface="+mj-lt"/>
      <a:buAutoNum type="arabicParenR"/>
      <a:defRPr sz="1100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542925" indent="-228600" algn="l" defTabSz="914400" rtl="0" eaLnBrk="1" latinLnBrk="0" hangingPunct="1">
      <a:buFont typeface="+mj-lt"/>
      <a:buAutoNum type="alphaLcParenR"/>
      <a:defRPr sz="1100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714375" indent="-228600" algn="l" defTabSz="914400" rtl="0" eaLnBrk="1" latinLnBrk="0" hangingPunct="1">
      <a:buFont typeface="Arial Narrow" pitchFamily="34" charset="0"/>
      <a:buChar char="−"/>
      <a:defRPr sz="1100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2057400" indent="-228600" algn="l" defTabSz="914400" rtl="0" eaLnBrk="1" latinLnBrk="0" hangingPunct="1">
      <a:buFont typeface="+mj-lt"/>
      <a:buAutoNum type="arabicParenR"/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42037-699C-48C8-9EC4-F362546A8197}" type="slidenum">
              <a:rPr lang="pl-PL" smtClean="0"/>
              <a:pPr/>
              <a:t>0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431198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1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4175" y="685800"/>
            <a:ext cx="6092825" cy="3427413"/>
          </a:xfrm>
          <a:ln/>
        </p:spPr>
      </p:sp>
      <p:sp>
        <p:nvSpPr>
          <p:cNvPr id="945155" name="Notizenplatzhalter 2"/>
          <p:cNvSpPr>
            <a:spLocks noGrp="1"/>
          </p:cNvSpPr>
          <p:nvPr>
            <p:ph type="body" idx="1"/>
          </p:nvPr>
        </p:nvSpPr>
        <p:spPr>
          <a:xfrm>
            <a:off x="914507" y="4344136"/>
            <a:ext cx="5028987" cy="4113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/>
          </a:p>
        </p:txBody>
      </p:sp>
      <p:sp>
        <p:nvSpPr>
          <p:cNvPr id="945156" name="Foliennummernplatzhalter 3"/>
          <p:cNvSpPr txBox="1">
            <a:spLocks noGrp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757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901911AB-4044-4BAA-B22B-57DC86184B2B}" type="slidenum">
              <a:rPr lang="en-US" sz="1100" b="0">
                <a:solidFill>
                  <a:prstClr val="black"/>
                </a:solidFill>
              </a:rPr>
              <a:pPr algn="r" eaLnBrk="1" hangingPunct="1"/>
              <a:t>46</a:t>
            </a:fld>
            <a:endParaRPr lang="en-US" sz="1100" b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4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49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4175" y="685800"/>
            <a:ext cx="6092825" cy="3427413"/>
          </a:xfrm>
          <a:ln/>
        </p:spPr>
      </p:sp>
      <p:sp>
        <p:nvSpPr>
          <p:cNvPr id="959491" name="Notizenplatzhalter 2"/>
          <p:cNvSpPr>
            <a:spLocks noGrp="1"/>
          </p:cNvSpPr>
          <p:nvPr>
            <p:ph type="body" idx="1"/>
          </p:nvPr>
        </p:nvSpPr>
        <p:spPr>
          <a:xfrm>
            <a:off x="914507" y="4344136"/>
            <a:ext cx="5028987" cy="4113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/>
          </a:p>
        </p:txBody>
      </p:sp>
      <p:sp>
        <p:nvSpPr>
          <p:cNvPr id="959492" name="Foliennummernplatzhalter 3"/>
          <p:cNvSpPr txBox="1">
            <a:spLocks noGrp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5988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5988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5988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5988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5988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5988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5988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5988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5988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D4FCE104-8301-4180-8F3C-97EFE6487B30}" type="slidenum">
              <a:rPr lang="en-US" sz="1100" b="0">
                <a:solidFill>
                  <a:prstClr val="black"/>
                </a:solidFill>
              </a:rPr>
              <a:pPr algn="r" eaLnBrk="1" hangingPunct="1"/>
              <a:t>47</a:t>
            </a:fld>
            <a:endParaRPr lang="en-US" sz="1100" b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5687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874" name="Rectangle 4103"/>
          <p:cNvSpPr txBox="1">
            <a:spLocks noGrp="1" noChangeArrowheads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757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9466949A-1682-4DD8-9BB3-1662F806D2EB}" type="slidenum">
              <a:rPr lang="de-DE" sz="1100" b="0">
                <a:solidFill>
                  <a:srgbClr val="000000"/>
                </a:solidFill>
              </a:rPr>
              <a:pPr algn="r" eaLnBrk="1" hangingPunct="1"/>
              <a:t>48</a:t>
            </a:fld>
            <a:endParaRPr lang="de-DE" sz="1100" b="0">
              <a:solidFill>
                <a:srgbClr val="000000"/>
              </a:solidFill>
            </a:endParaRPr>
          </a:p>
        </p:txBody>
      </p:sp>
      <p:sp>
        <p:nvSpPr>
          <p:cNvPr id="975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0363" y="711200"/>
            <a:ext cx="6137275" cy="3452813"/>
          </a:xfrm>
          <a:ln/>
        </p:spPr>
      </p:sp>
      <p:sp>
        <p:nvSpPr>
          <p:cNvPr id="9758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7" y="4369127"/>
            <a:ext cx="5028987" cy="406334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8742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018" name="Rectangle 4103"/>
          <p:cNvSpPr txBox="1">
            <a:spLocks noGrp="1" noChangeArrowheads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757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2C01FD22-FFE5-49F2-BEB8-8EC1BFB7736E}" type="slidenum">
              <a:rPr lang="de-DE" sz="1100" b="0">
                <a:solidFill>
                  <a:srgbClr val="000000"/>
                </a:solidFill>
              </a:rPr>
              <a:pPr algn="r" eaLnBrk="1" hangingPunct="1"/>
              <a:t>49</a:t>
            </a:fld>
            <a:endParaRPr lang="de-DE" sz="1100" b="0">
              <a:solidFill>
                <a:srgbClr val="000000"/>
              </a:solidFill>
            </a:endParaRPr>
          </a:p>
        </p:txBody>
      </p:sp>
      <p:sp>
        <p:nvSpPr>
          <p:cNvPr id="982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0363" y="711200"/>
            <a:ext cx="6137275" cy="3452813"/>
          </a:xfrm>
          <a:ln/>
        </p:spPr>
      </p:sp>
      <p:sp>
        <p:nvSpPr>
          <p:cNvPr id="982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7" y="4369127"/>
            <a:ext cx="5028987" cy="406334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948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42037-699C-48C8-9EC4-F362546A8197}" type="slidenum">
              <a:rPr lang="pl-PL" smtClean="0"/>
              <a:pPr/>
              <a:t>8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65474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244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2448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244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68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4175" y="685800"/>
            <a:ext cx="6092825" cy="3427413"/>
          </a:xfrm>
          <a:ln/>
        </p:spPr>
      </p:sp>
      <p:sp>
        <p:nvSpPr>
          <p:cNvPr id="967683" name="Notizenplatzhalter 2"/>
          <p:cNvSpPr>
            <a:spLocks noGrp="1"/>
          </p:cNvSpPr>
          <p:nvPr>
            <p:ph type="body" idx="1"/>
          </p:nvPr>
        </p:nvSpPr>
        <p:spPr>
          <a:xfrm>
            <a:off x="914507" y="4344136"/>
            <a:ext cx="5028987" cy="4113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/>
          </a:p>
        </p:txBody>
      </p:sp>
      <p:sp>
        <p:nvSpPr>
          <p:cNvPr id="967684" name="Foliennummernplatzhalter 3"/>
          <p:cNvSpPr txBox="1">
            <a:spLocks noGrp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757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3FD07C16-01D0-49FE-8C91-D316D7C43005}" type="slidenum">
              <a:rPr lang="en-US" sz="1100" b="0">
                <a:solidFill>
                  <a:prstClr val="black"/>
                </a:solidFill>
              </a:rPr>
              <a:pPr algn="r" eaLnBrk="1" hangingPunct="1"/>
              <a:t>40</a:t>
            </a:fld>
            <a:endParaRPr lang="en-US" sz="1100" b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6307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244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770" name="Rectangle 7"/>
          <p:cNvSpPr txBox="1">
            <a:spLocks noGrp="1" noChangeArrowheads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757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904D8073-AF81-4780-84D7-E90F46A1197A}" type="slidenum">
              <a:rPr lang="en-US" sz="1100" b="0">
                <a:solidFill>
                  <a:prstClr val="black"/>
                </a:solidFill>
              </a:rPr>
              <a:pPr algn="r" eaLnBrk="1" hangingPunct="1"/>
              <a:t>44</a:t>
            </a:fld>
            <a:endParaRPr lang="en-US" sz="1100" b="0">
              <a:solidFill>
                <a:prstClr val="black"/>
              </a:solidFill>
            </a:endParaRPr>
          </a:p>
        </p:txBody>
      </p:sp>
      <p:sp>
        <p:nvSpPr>
          <p:cNvPr id="928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5800"/>
            <a:ext cx="6092825" cy="3427413"/>
          </a:xfrm>
          <a:ln/>
        </p:spPr>
      </p:sp>
      <p:sp>
        <p:nvSpPr>
          <p:cNvPr id="9287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7" y="4344136"/>
            <a:ext cx="5028987" cy="4113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241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866" name="Rectangle 7"/>
          <p:cNvSpPr txBox="1">
            <a:spLocks noGrp="1" noChangeArrowheads="1"/>
          </p:cNvSpPr>
          <p:nvPr/>
        </p:nvSpPr>
        <p:spPr bwMode="auto">
          <a:xfrm>
            <a:off x="3883852" y="8685330"/>
            <a:ext cx="2974148" cy="458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 anchor="b"/>
          <a:lstStyle>
            <a:lvl1pPr defTabSz="91757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757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43A8DAF6-E30D-4390-AA95-E016DC4583DA}" type="slidenum">
              <a:rPr lang="en-US" sz="1100" b="0">
                <a:solidFill>
                  <a:prstClr val="black"/>
                </a:solidFill>
              </a:rPr>
              <a:pPr algn="r" eaLnBrk="1" hangingPunct="1"/>
              <a:t>45</a:t>
            </a:fld>
            <a:endParaRPr lang="en-US" sz="1100" b="0">
              <a:solidFill>
                <a:prstClr val="black"/>
              </a:solidFill>
            </a:endParaRPr>
          </a:p>
        </p:txBody>
      </p:sp>
      <p:sp>
        <p:nvSpPr>
          <p:cNvPr id="932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5800"/>
            <a:ext cx="6092825" cy="3427413"/>
          </a:xfrm>
          <a:ln/>
        </p:spPr>
      </p:sp>
      <p:sp>
        <p:nvSpPr>
          <p:cNvPr id="932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7" y="4344136"/>
            <a:ext cx="5028987" cy="4113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10" tIns="45104" rIns="90210" bIns="45104"/>
          <a:lstStyle/>
          <a:p>
            <a:pPr defTabSz="898489"/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04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ymbol zastępczy tekstu 15"/>
          <p:cNvSpPr>
            <a:spLocks noGrp="1"/>
          </p:cNvSpPr>
          <p:nvPr>
            <p:ph type="body" sz="quarter" idx="14" hasCustomPrompt="1"/>
          </p:nvPr>
        </p:nvSpPr>
        <p:spPr>
          <a:xfrm>
            <a:off x="7956000" y="468000"/>
            <a:ext cx="2844000" cy="90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800" i="1" baseline="0">
                <a:solidFill>
                  <a:srgbClr val="FFC000"/>
                </a:solidFill>
              </a:defRPr>
            </a:lvl1pPr>
          </a:lstStyle>
          <a:p>
            <a:pPr lvl="0"/>
            <a:r>
              <a:rPr lang="en-US" noProof="0" dirty="0"/>
              <a:t>Area for client </a:t>
            </a:r>
            <a:br>
              <a:rPr lang="en-US" noProof="0" dirty="0"/>
            </a:br>
            <a:r>
              <a:rPr lang="en-US" noProof="0" dirty="0"/>
              <a:t>LOGO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5" hasCustomPrompt="1"/>
          </p:nvPr>
        </p:nvSpPr>
        <p:spPr>
          <a:xfrm>
            <a:off x="900000" y="3672000"/>
            <a:ext cx="8424000" cy="792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/>
              <a:t>Subtitle of the presentation</a:t>
            </a:r>
          </a:p>
        </p:txBody>
      </p:sp>
      <p:sp>
        <p:nvSpPr>
          <p:cNvPr id="26" name="Symbol zastępczy tekstu 25"/>
          <p:cNvSpPr>
            <a:spLocks noGrp="1"/>
          </p:cNvSpPr>
          <p:nvPr>
            <p:ph type="body" sz="quarter" idx="16" hasCustomPrompt="1"/>
          </p:nvPr>
        </p:nvSpPr>
        <p:spPr>
          <a:xfrm>
            <a:off x="900000" y="4752000"/>
            <a:ext cx="6624000" cy="252000"/>
          </a:xfrm>
        </p:spPr>
        <p:txBody>
          <a:bodyPr tIns="0" bIns="0" anchor="b"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Full name</a:t>
            </a:r>
          </a:p>
        </p:txBody>
      </p:sp>
      <p:sp>
        <p:nvSpPr>
          <p:cNvPr id="27" name="Symbol zastępczy tekstu 25"/>
          <p:cNvSpPr>
            <a:spLocks noGrp="1"/>
          </p:cNvSpPr>
          <p:nvPr>
            <p:ph type="body" sz="quarter" idx="17" hasCustomPrompt="1"/>
          </p:nvPr>
        </p:nvSpPr>
        <p:spPr>
          <a:xfrm>
            <a:off x="900000" y="5040000"/>
            <a:ext cx="6624000" cy="25200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ity and/or date</a:t>
            </a:r>
          </a:p>
        </p:txBody>
      </p:sp>
      <p:sp>
        <p:nvSpPr>
          <p:cNvPr id="28" name="Tytuł 2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presentation</a:t>
            </a:r>
          </a:p>
        </p:txBody>
      </p:sp>
    </p:spTree>
  </p:cSld>
  <p:clrMapOvr>
    <a:masterClrMapping/>
  </p:clrMapOvr>
  <p:transition spd="slow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eft_pic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1404000"/>
            <a:ext cx="5544000" cy="4535313"/>
          </a:xfrm>
        </p:spPr>
        <p:txBody>
          <a:bodyPr anchor="t"/>
          <a:lstStyle/>
          <a:p>
            <a:pPr lvl="0"/>
            <a:r>
              <a:rPr lang="pl-PL" noProof="0" dirty="0"/>
              <a:t>Main level of bulleted list for add content; Arial Narrow 20 pt</a:t>
            </a:r>
          </a:p>
          <a:p>
            <a:pPr lvl="1"/>
            <a:r>
              <a:rPr lang="pl-PL" noProof="0" dirty="0"/>
              <a:t>Second level of the list; Arial Narrow 18 pt</a:t>
            </a:r>
          </a:p>
          <a:p>
            <a:pPr lvl="2"/>
            <a:r>
              <a:rPr lang="pl-PL" noProof="0" dirty="0"/>
              <a:t>Third leve of the listl; Arial Narrow 16 pt</a:t>
            </a:r>
          </a:p>
          <a:p>
            <a:pPr lvl="3"/>
            <a:r>
              <a:rPr lang="pl-PL" noProof="0" dirty="0"/>
              <a:t>Foruth level of the list; Arial Narrow 14 pt</a:t>
            </a:r>
          </a:p>
          <a:p>
            <a:pPr lvl="4"/>
            <a:r>
              <a:rPr lang="pl-PL" noProof="0" dirty="0"/>
              <a:t>Fifth level of the list; Arial Narrow 12 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3"/>
          </p:nvPr>
        </p:nvSpPr>
        <p:spPr>
          <a:xfrm>
            <a:off x="6300000" y="1404000"/>
            <a:ext cx="5544000" cy="4537075"/>
          </a:xfrm>
        </p:spPr>
        <p:txBody>
          <a:bodyPr/>
          <a:lstStyle/>
          <a:p>
            <a:endParaRPr lang="de-AT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0889107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right_p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tekstu 34"/>
          <p:cNvSpPr>
            <a:spLocks noGrp="1"/>
          </p:cNvSpPr>
          <p:nvPr>
            <p:ph type="body" sz="quarter" idx="28" hasCustomPrompt="1"/>
          </p:nvPr>
        </p:nvSpPr>
        <p:spPr>
          <a:xfrm>
            <a:off x="6300000" y="1404000"/>
            <a:ext cx="5544000" cy="4535313"/>
          </a:xfrm>
        </p:spPr>
        <p:txBody>
          <a:bodyPr anchor="t"/>
          <a:lstStyle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Main level of bulleted list for add content; Arial Narrow 20 pt</a:t>
            </a:r>
          </a:p>
          <a:p>
            <a:pPr lvl="1"/>
            <a:r>
              <a:rPr lang="en-US" noProof="0" dirty="0"/>
              <a:t>Second level of the list; Arial Narrow 18 pt</a:t>
            </a:r>
          </a:p>
          <a:p>
            <a:pPr lvl="2"/>
            <a:r>
              <a:rPr lang="en-US" noProof="0" dirty="0"/>
              <a:t>Third level of the list; Arial Narrow 16 pt</a:t>
            </a:r>
          </a:p>
          <a:p>
            <a:pPr lvl="3"/>
            <a:r>
              <a:rPr lang="en-US" noProof="0" dirty="0"/>
              <a:t>Fourth level of the list; Arial Narrow 14 pt</a:t>
            </a:r>
          </a:p>
          <a:p>
            <a:pPr lvl="4"/>
            <a:r>
              <a:rPr lang="en-US" noProof="0" dirty="0"/>
              <a:t>Fifth level of the list; Arial Narrow 12 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3"/>
          </p:nvPr>
        </p:nvSpPr>
        <p:spPr>
          <a:xfrm>
            <a:off x="324000" y="1404000"/>
            <a:ext cx="5544000" cy="4536000"/>
          </a:xfrm>
        </p:spPr>
        <p:txBody>
          <a:bodyPr/>
          <a:lstStyle/>
          <a:p>
            <a:endParaRPr lang="de-AT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1942243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4_silo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3240000" y="1978223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6156000" y="1978223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9072000" y="1984271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324000" y="1980000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8" name="Symbol zastępczy tekstu 34"/>
          <p:cNvSpPr>
            <a:spLocks noGrp="1"/>
          </p:cNvSpPr>
          <p:nvPr>
            <p:ph type="body" sz="quarter" idx="33"/>
          </p:nvPr>
        </p:nvSpPr>
        <p:spPr>
          <a:xfrm>
            <a:off x="3240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</a:defRPr>
            </a:lvl3pPr>
          </a:lstStyle>
          <a:p>
            <a:pPr lvl="2"/>
            <a:r>
              <a:rPr lang="de-AT" noProof="0" dirty="0"/>
              <a:t>Text</a:t>
            </a:r>
          </a:p>
          <a:p>
            <a:pPr lvl="2"/>
            <a:endParaRPr lang="de-AT" noProof="0" dirty="0"/>
          </a:p>
          <a:p>
            <a:pPr lvl="2"/>
            <a:endParaRPr lang="pl-PL" noProof="0" dirty="0"/>
          </a:p>
        </p:txBody>
      </p:sp>
      <p:sp>
        <p:nvSpPr>
          <p:cNvPr id="11" name="Symbol zastępczy tekstu 34"/>
          <p:cNvSpPr>
            <a:spLocks noGrp="1"/>
          </p:cNvSpPr>
          <p:nvPr>
            <p:ph type="body" sz="quarter" idx="34"/>
          </p:nvPr>
        </p:nvSpPr>
        <p:spPr>
          <a:xfrm>
            <a:off x="6156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</a:t>
            </a:r>
            <a:endParaRPr lang="pl-PL" noProof="0" dirty="0"/>
          </a:p>
        </p:txBody>
      </p:sp>
      <p:sp>
        <p:nvSpPr>
          <p:cNvPr id="12" name="Symbol zastępczy tekstu 34"/>
          <p:cNvSpPr>
            <a:spLocks noGrp="1"/>
          </p:cNvSpPr>
          <p:nvPr>
            <p:ph type="body" sz="quarter" idx="35"/>
          </p:nvPr>
        </p:nvSpPr>
        <p:spPr>
          <a:xfrm>
            <a:off x="9072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en-GB" noProof="0" dirty="0"/>
              <a:t>Text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6"/>
          </p:nvPr>
        </p:nvSpPr>
        <p:spPr>
          <a:xfrm>
            <a:off x="6156000" y="1404000"/>
            <a:ext cx="2736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7" name="Inhaltsplatzhalter 4"/>
          <p:cNvSpPr>
            <a:spLocks noGrp="1"/>
          </p:cNvSpPr>
          <p:nvPr>
            <p:ph sz="quarter" idx="37"/>
          </p:nvPr>
        </p:nvSpPr>
        <p:spPr>
          <a:xfrm>
            <a:off x="324000" y="1404000"/>
            <a:ext cx="2736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8" name="Inhaltsplatzhalter 4"/>
          <p:cNvSpPr>
            <a:spLocks noGrp="1"/>
          </p:cNvSpPr>
          <p:nvPr>
            <p:ph sz="quarter" idx="38"/>
          </p:nvPr>
        </p:nvSpPr>
        <p:spPr>
          <a:xfrm>
            <a:off x="3240000" y="1404000"/>
            <a:ext cx="2736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9" name="Inhaltsplatzhalter 4"/>
          <p:cNvSpPr>
            <a:spLocks noGrp="1"/>
          </p:cNvSpPr>
          <p:nvPr>
            <p:ph sz="quarter" idx="39"/>
          </p:nvPr>
        </p:nvSpPr>
        <p:spPr>
          <a:xfrm>
            <a:off x="9072000" y="1404000"/>
            <a:ext cx="2736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4852950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siloes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4716000" y="1978223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7668000" y="1978223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1764000" y="1980000"/>
            <a:ext cx="27360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31"/>
          </p:nvPr>
        </p:nvSpPr>
        <p:spPr>
          <a:xfrm>
            <a:off x="1764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0" tIns="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</a:lstStyle>
          <a:p>
            <a:pPr lvl="2"/>
            <a:endParaRPr lang="de-AT" dirty="0"/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32"/>
          </p:nvPr>
        </p:nvSpPr>
        <p:spPr>
          <a:xfrm>
            <a:off x="4716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0" tIns="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3pPr>
          </a:lstStyle>
          <a:p>
            <a:pPr lvl="2"/>
            <a:endParaRPr lang="de-AT" dirty="0"/>
          </a:p>
        </p:txBody>
      </p:sp>
      <p:sp>
        <p:nvSpPr>
          <p:cNvPr id="24" name="Inhaltsplatzhalter 23"/>
          <p:cNvSpPr>
            <a:spLocks noGrp="1"/>
          </p:cNvSpPr>
          <p:nvPr>
            <p:ph sz="quarter" idx="34"/>
          </p:nvPr>
        </p:nvSpPr>
        <p:spPr>
          <a:xfrm>
            <a:off x="1764000" y="1404000"/>
            <a:ext cx="2736000" cy="432000"/>
          </a:xfrm>
          <a:prstGeom prst="rect">
            <a:avLst/>
          </a:prstGeom>
          <a:solidFill>
            <a:srgbClr val="B3D5F2"/>
          </a:solidFill>
        </p:spPr>
        <p:txBody>
          <a:bodyPr anchor="ctr" anchorCtr="1">
            <a:normAutofit/>
          </a:bodyPr>
          <a:lstStyle>
            <a:lvl2pPr>
              <a:defRPr sz="14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26" name="Inhaltsplatzhalter 23"/>
          <p:cNvSpPr>
            <a:spLocks noGrp="1"/>
          </p:cNvSpPr>
          <p:nvPr>
            <p:ph sz="quarter" idx="35"/>
          </p:nvPr>
        </p:nvSpPr>
        <p:spPr>
          <a:xfrm>
            <a:off x="4716000" y="1404000"/>
            <a:ext cx="2736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2pPr algn="ctr">
              <a:defRPr sz="14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27" name="Inhaltsplatzhalter 23"/>
          <p:cNvSpPr>
            <a:spLocks noGrp="1"/>
          </p:cNvSpPr>
          <p:nvPr>
            <p:ph sz="quarter" idx="36"/>
          </p:nvPr>
        </p:nvSpPr>
        <p:spPr>
          <a:xfrm>
            <a:off x="7668000" y="1404000"/>
            <a:ext cx="2736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2pPr algn="ctr">
              <a:defRPr sz="16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37"/>
          </p:nvPr>
        </p:nvSpPr>
        <p:spPr>
          <a:xfrm>
            <a:off x="7668000" y="2196000"/>
            <a:ext cx="2736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0" tIns="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3pPr>
          </a:lstStyle>
          <a:p>
            <a:pPr lvl="2"/>
            <a:endParaRPr lang="de-AT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7213655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silo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4284000" y="1978223"/>
            <a:ext cx="3588200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8244000" y="1978223"/>
            <a:ext cx="3586357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324000" y="1980000"/>
            <a:ext cx="3588640" cy="106223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31"/>
          </p:nvPr>
        </p:nvSpPr>
        <p:spPr>
          <a:xfrm>
            <a:off x="324000" y="2196000"/>
            <a:ext cx="3600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</a:lstStyle>
          <a:p>
            <a:pPr lvl="2"/>
            <a:endParaRPr lang="de-AT" dirty="0"/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32"/>
          </p:nvPr>
        </p:nvSpPr>
        <p:spPr>
          <a:xfrm>
            <a:off x="4284000" y="2196000"/>
            <a:ext cx="3600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3pPr>
          </a:lstStyle>
          <a:p>
            <a:pPr lvl="2"/>
            <a:endParaRPr lang="de-AT" dirty="0"/>
          </a:p>
        </p:txBody>
      </p:sp>
      <p:sp>
        <p:nvSpPr>
          <p:cNvPr id="24" name="Inhaltsplatzhalter 23"/>
          <p:cNvSpPr>
            <a:spLocks noGrp="1"/>
          </p:cNvSpPr>
          <p:nvPr>
            <p:ph sz="quarter" idx="34"/>
          </p:nvPr>
        </p:nvSpPr>
        <p:spPr>
          <a:xfrm>
            <a:off x="324000" y="1404000"/>
            <a:ext cx="3600000" cy="432000"/>
          </a:xfrm>
          <a:prstGeom prst="rect">
            <a:avLst/>
          </a:prstGeom>
          <a:solidFill>
            <a:srgbClr val="B3D5F2"/>
          </a:solidFill>
        </p:spPr>
        <p:txBody>
          <a:bodyPr anchor="ctr" anchorCtr="1">
            <a:normAutofit/>
          </a:bodyPr>
          <a:lstStyle>
            <a:lvl2pPr>
              <a:defRPr sz="14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26" name="Inhaltsplatzhalter 23"/>
          <p:cNvSpPr>
            <a:spLocks noGrp="1"/>
          </p:cNvSpPr>
          <p:nvPr>
            <p:ph sz="quarter" idx="35"/>
          </p:nvPr>
        </p:nvSpPr>
        <p:spPr>
          <a:xfrm>
            <a:off x="4284000" y="1404000"/>
            <a:ext cx="3600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2pPr algn="ctr">
              <a:defRPr sz="14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27" name="Inhaltsplatzhalter 23"/>
          <p:cNvSpPr>
            <a:spLocks noGrp="1"/>
          </p:cNvSpPr>
          <p:nvPr>
            <p:ph sz="quarter" idx="36"/>
          </p:nvPr>
        </p:nvSpPr>
        <p:spPr>
          <a:xfrm>
            <a:off x="8244000" y="1404000"/>
            <a:ext cx="3600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2pPr algn="ctr">
              <a:defRPr sz="16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37"/>
          </p:nvPr>
        </p:nvSpPr>
        <p:spPr>
          <a:xfrm>
            <a:off x="8244000" y="2196000"/>
            <a:ext cx="3600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3pPr>
          </a:lstStyle>
          <a:p>
            <a:pPr lvl="2"/>
            <a:endParaRPr lang="de-AT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546281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silo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264000" y="1978223"/>
            <a:ext cx="4163984" cy="108000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764000" y="1980000"/>
            <a:ext cx="4128480" cy="106223"/>
          </a:xfrm>
          <a:prstGeom prst="rect">
            <a:avLst/>
          </a:prstGeom>
          <a:solidFill>
            <a:srgbClr val="68AC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31"/>
          </p:nvPr>
        </p:nvSpPr>
        <p:spPr>
          <a:xfrm>
            <a:off x="1764000" y="2196000"/>
            <a:ext cx="4140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</a:lstStyle>
          <a:p>
            <a:pPr lvl="2"/>
            <a:endParaRPr lang="de-AT" dirty="0"/>
          </a:p>
        </p:txBody>
      </p:sp>
      <p:sp>
        <p:nvSpPr>
          <p:cNvPr id="24" name="Inhaltsplatzhalter 23"/>
          <p:cNvSpPr>
            <a:spLocks noGrp="1"/>
          </p:cNvSpPr>
          <p:nvPr>
            <p:ph sz="quarter" idx="34"/>
          </p:nvPr>
        </p:nvSpPr>
        <p:spPr>
          <a:xfrm>
            <a:off x="1764000" y="1404000"/>
            <a:ext cx="4140000" cy="432000"/>
          </a:xfrm>
          <a:prstGeom prst="rect">
            <a:avLst/>
          </a:prstGeom>
          <a:solidFill>
            <a:srgbClr val="B3D5F2"/>
          </a:solidFill>
        </p:spPr>
        <p:txBody>
          <a:bodyPr anchor="ctr" anchorCtr="1">
            <a:normAutofit/>
          </a:bodyPr>
          <a:lstStyle>
            <a:lvl2pPr>
              <a:defRPr sz="14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27" name="Inhaltsplatzhalter 23"/>
          <p:cNvSpPr>
            <a:spLocks noGrp="1"/>
          </p:cNvSpPr>
          <p:nvPr>
            <p:ph sz="quarter" idx="36"/>
          </p:nvPr>
        </p:nvSpPr>
        <p:spPr>
          <a:xfrm>
            <a:off x="6264000" y="1404000"/>
            <a:ext cx="4140000" cy="432000"/>
          </a:xfrm>
          <a:solidFill>
            <a:srgbClr val="B3D5F2"/>
          </a:solidFill>
        </p:spPr>
        <p:txBody>
          <a:bodyPr anchor="ctr" anchorCtr="1">
            <a:normAutofit/>
          </a:bodyPr>
          <a:lstStyle>
            <a:lvl2pPr algn="ctr">
              <a:defRPr sz="1600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37"/>
          </p:nvPr>
        </p:nvSpPr>
        <p:spPr>
          <a:xfrm>
            <a:off x="6264000" y="2196000"/>
            <a:ext cx="4140000" cy="3492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>
            <a:norm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</a:lstStyle>
          <a:p>
            <a:pPr lvl="2"/>
            <a:endParaRPr lang="de-AT" dirty="0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1598745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boxes_3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2952000" y="1404000"/>
            <a:ext cx="7560000" cy="1296000"/>
          </a:xfrm>
          <a:solidFill>
            <a:srgbClr val="E0E0E0"/>
          </a:solidFill>
        </p:spPr>
        <p:txBody>
          <a:bodyPr lIns="72000" anchor="ctr" anchorCtr="0">
            <a:noAutofit/>
          </a:bodyPr>
          <a:lstStyle>
            <a:lvl3pPr marL="180000" indent="-180000">
              <a:lnSpc>
                <a:spcPct val="114000"/>
              </a:lnSpc>
              <a:spcBef>
                <a:spcPts val="0"/>
              </a:spcBef>
              <a:defRPr sz="1400" baseline="0"/>
            </a:lvl3pPr>
          </a:lstStyle>
          <a:p>
            <a:pPr lvl="2"/>
            <a:r>
              <a:rPr lang="de-DE" dirty="0"/>
              <a:t>Text 1</a:t>
            </a:r>
          </a:p>
          <a:p>
            <a:pPr lvl="2"/>
            <a:r>
              <a:rPr lang="de-DE" dirty="0"/>
              <a:t>Text 2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2952000" y="2844000"/>
            <a:ext cx="7560000" cy="1296000"/>
          </a:xfrm>
          <a:solidFill>
            <a:srgbClr val="E0E0E0"/>
          </a:solidFill>
        </p:spPr>
        <p:txBody>
          <a:bodyPr lIns="72000" anchor="ctr" anchorCtr="0">
            <a:noAutofit/>
          </a:bodyPr>
          <a:lstStyle>
            <a:lvl3pPr marL="180000" indent="-180000">
              <a:lnSpc>
                <a:spcPct val="114000"/>
              </a:lnSpc>
              <a:spcBef>
                <a:spcPts val="0"/>
              </a:spcBef>
              <a:defRPr sz="1400" baseline="0"/>
            </a:lvl3pPr>
          </a:lstStyle>
          <a:p>
            <a:pPr lvl="2"/>
            <a:r>
              <a:rPr lang="de-DE" dirty="0"/>
              <a:t>Text 1</a:t>
            </a:r>
          </a:p>
          <a:p>
            <a:pPr lvl="2"/>
            <a:r>
              <a:rPr lang="de-DE" dirty="0"/>
              <a:t>Text 2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2952000" y="4284000"/>
            <a:ext cx="7560000" cy="1296000"/>
          </a:xfrm>
          <a:solidFill>
            <a:srgbClr val="E0E0E0"/>
          </a:solidFill>
        </p:spPr>
        <p:txBody>
          <a:bodyPr lIns="72000" anchor="ctr" anchorCtr="0">
            <a:noAutofit/>
          </a:bodyPr>
          <a:lstStyle>
            <a:lvl3pPr marL="180000" indent="-180000">
              <a:lnSpc>
                <a:spcPct val="114000"/>
              </a:lnSpc>
              <a:spcBef>
                <a:spcPts val="0"/>
              </a:spcBef>
              <a:defRPr sz="1400" baseline="0"/>
            </a:lvl3pPr>
          </a:lstStyle>
          <a:p>
            <a:pPr lvl="2"/>
            <a:r>
              <a:rPr lang="de-DE" dirty="0"/>
              <a:t>Text 1</a:t>
            </a:r>
          </a:p>
          <a:p>
            <a:pPr lvl="2"/>
            <a:r>
              <a:rPr lang="de-DE" dirty="0"/>
              <a:t>Text 2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40"/>
          </p:nvPr>
        </p:nvSpPr>
        <p:spPr>
          <a:xfrm>
            <a:off x="1404000" y="1404000"/>
            <a:ext cx="1440000" cy="1296000"/>
          </a:xfrm>
          <a:prstGeom prst="homePlate">
            <a:avLst>
              <a:gd name="adj" fmla="val 22807"/>
            </a:avLst>
          </a:prstGeom>
          <a:solidFill>
            <a:srgbClr val="335182"/>
          </a:solidFill>
        </p:spPr>
        <p:txBody>
          <a:bodyPr lIns="72000" anchor="ctr" anchorCtr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41"/>
          </p:nvPr>
        </p:nvSpPr>
        <p:spPr>
          <a:xfrm>
            <a:off x="1404000" y="2844000"/>
            <a:ext cx="1440000" cy="1296000"/>
          </a:xfrm>
          <a:prstGeom prst="homePlate">
            <a:avLst>
              <a:gd name="adj" fmla="val 22807"/>
            </a:avLst>
          </a:prstGeom>
          <a:solidFill>
            <a:srgbClr val="335182"/>
          </a:solidFill>
        </p:spPr>
        <p:txBody>
          <a:bodyPr lIns="72000" anchor="ctr" anchorCtr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42"/>
          </p:nvPr>
        </p:nvSpPr>
        <p:spPr>
          <a:xfrm>
            <a:off x="1404000" y="4284000"/>
            <a:ext cx="1440000" cy="1296000"/>
          </a:xfrm>
          <a:prstGeom prst="homePlate">
            <a:avLst>
              <a:gd name="adj" fmla="val 22807"/>
            </a:avLst>
          </a:prstGeom>
          <a:solidFill>
            <a:srgbClr val="335182"/>
          </a:solidFill>
        </p:spPr>
        <p:txBody>
          <a:bodyPr lIns="72000" anchor="ctr" anchorCtr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0321254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boxes_3_lines_shif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1872000" y="1404000"/>
            <a:ext cx="7560000" cy="1296000"/>
          </a:xfrm>
          <a:solidFill>
            <a:srgbClr val="E0E0E0"/>
          </a:solidFill>
        </p:spPr>
        <p:txBody>
          <a:bodyPr lIns="72000" anchor="ctr" anchorCtr="0">
            <a:noAutofit/>
          </a:bodyPr>
          <a:lstStyle>
            <a:lvl3pPr marL="180000" indent="-180000">
              <a:lnSpc>
                <a:spcPct val="114000"/>
              </a:lnSpc>
              <a:spcBef>
                <a:spcPts val="0"/>
              </a:spcBef>
              <a:defRPr sz="1400" baseline="0"/>
            </a:lvl3pPr>
          </a:lstStyle>
          <a:p>
            <a:pPr lvl="2"/>
            <a:r>
              <a:rPr lang="de-DE" dirty="0"/>
              <a:t>Text 1</a:t>
            </a:r>
          </a:p>
          <a:p>
            <a:pPr lvl="2"/>
            <a:r>
              <a:rPr lang="de-DE" dirty="0"/>
              <a:t>Text 2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3078000" y="2844000"/>
            <a:ext cx="7560000" cy="1296000"/>
          </a:xfrm>
          <a:solidFill>
            <a:srgbClr val="E0E0E0"/>
          </a:solidFill>
        </p:spPr>
        <p:txBody>
          <a:bodyPr lIns="72000" anchor="ctr" anchorCtr="0">
            <a:noAutofit/>
          </a:bodyPr>
          <a:lstStyle>
            <a:lvl3pPr marL="180000" indent="-180000">
              <a:lnSpc>
                <a:spcPct val="114000"/>
              </a:lnSpc>
              <a:spcBef>
                <a:spcPts val="0"/>
              </a:spcBef>
              <a:defRPr sz="1400" baseline="0"/>
            </a:lvl3pPr>
          </a:lstStyle>
          <a:p>
            <a:pPr lvl="2"/>
            <a:r>
              <a:rPr lang="de-DE" dirty="0"/>
              <a:t>Text 1</a:t>
            </a:r>
          </a:p>
          <a:p>
            <a:pPr lvl="2"/>
            <a:r>
              <a:rPr lang="de-DE" dirty="0"/>
              <a:t>Text 2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4284000" y="4284000"/>
            <a:ext cx="7560000" cy="1296000"/>
          </a:xfrm>
          <a:solidFill>
            <a:srgbClr val="E0E0E0"/>
          </a:solidFill>
        </p:spPr>
        <p:txBody>
          <a:bodyPr lIns="72000" anchor="ctr" anchorCtr="0">
            <a:noAutofit/>
          </a:bodyPr>
          <a:lstStyle>
            <a:lvl3pPr marL="180000" indent="-180000">
              <a:lnSpc>
                <a:spcPct val="114000"/>
              </a:lnSpc>
              <a:spcBef>
                <a:spcPts val="0"/>
              </a:spcBef>
              <a:defRPr sz="1400" baseline="0"/>
            </a:lvl3pPr>
          </a:lstStyle>
          <a:p>
            <a:pPr lvl="2"/>
            <a:r>
              <a:rPr lang="de-DE" dirty="0"/>
              <a:t>Text 1</a:t>
            </a:r>
          </a:p>
          <a:p>
            <a:pPr lvl="2"/>
            <a:r>
              <a:rPr lang="de-DE" dirty="0"/>
              <a:t>Text 2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40"/>
          </p:nvPr>
        </p:nvSpPr>
        <p:spPr>
          <a:xfrm>
            <a:off x="324000" y="1404000"/>
            <a:ext cx="1440000" cy="1296000"/>
          </a:xfrm>
          <a:prstGeom prst="homePlate">
            <a:avLst>
              <a:gd name="adj" fmla="val 22807"/>
            </a:avLst>
          </a:prstGeom>
          <a:solidFill>
            <a:srgbClr val="335182"/>
          </a:solidFill>
        </p:spPr>
        <p:txBody>
          <a:bodyPr lIns="72000" anchor="ctr" anchorCtr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41"/>
          </p:nvPr>
        </p:nvSpPr>
        <p:spPr>
          <a:xfrm>
            <a:off x="1530000" y="2844000"/>
            <a:ext cx="1440000" cy="1296000"/>
          </a:xfrm>
          <a:prstGeom prst="homePlate">
            <a:avLst>
              <a:gd name="adj" fmla="val 22807"/>
            </a:avLst>
          </a:prstGeom>
          <a:solidFill>
            <a:srgbClr val="335182"/>
          </a:solidFill>
        </p:spPr>
        <p:txBody>
          <a:bodyPr lIns="72000" anchor="ctr" anchorCtr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42"/>
          </p:nvPr>
        </p:nvSpPr>
        <p:spPr>
          <a:xfrm>
            <a:off x="2736000" y="4284000"/>
            <a:ext cx="1440000" cy="1296000"/>
          </a:xfrm>
          <a:prstGeom prst="homePlate">
            <a:avLst>
              <a:gd name="adj" fmla="val 22807"/>
            </a:avLst>
          </a:prstGeom>
          <a:solidFill>
            <a:srgbClr val="335182"/>
          </a:solidFill>
        </p:spPr>
        <p:txBody>
          <a:bodyPr lIns="72000" anchor="ctr" anchorCtr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354961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4_siloe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2880000"/>
            <a:ext cx="2736000" cy="3060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40"/>
          </p:nvPr>
        </p:nvSpPr>
        <p:spPr>
          <a:xfrm>
            <a:off x="324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1" name="Symbol zastępczy tekstu 34"/>
          <p:cNvSpPr>
            <a:spLocks noGrp="1"/>
          </p:cNvSpPr>
          <p:nvPr>
            <p:ph type="body" sz="quarter" idx="41" hasCustomPrompt="1"/>
          </p:nvPr>
        </p:nvSpPr>
        <p:spPr>
          <a:xfrm>
            <a:off x="3240000" y="2880000"/>
            <a:ext cx="2736000" cy="3060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42"/>
          </p:nvPr>
        </p:nvSpPr>
        <p:spPr>
          <a:xfrm>
            <a:off x="3240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3" name="Symbol zastępczy tekstu 34"/>
          <p:cNvSpPr>
            <a:spLocks noGrp="1"/>
          </p:cNvSpPr>
          <p:nvPr>
            <p:ph type="body" sz="quarter" idx="43" hasCustomPrompt="1"/>
          </p:nvPr>
        </p:nvSpPr>
        <p:spPr>
          <a:xfrm>
            <a:off x="6156000" y="2880000"/>
            <a:ext cx="2736000" cy="3060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44"/>
          </p:nvPr>
        </p:nvSpPr>
        <p:spPr>
          <a:xfrm>
            <a:off x="6156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5" name="Symbol zastępczy tekstu 34"/>
          <p:cNvSpPr>
            <a:spLocks noGrp="1"/>
          </p:cNvSpPr>
          <p:nvPr>
            <p:ph type="body" sz="quarter" idx="45" hasCustomPrompt="1"/>
          </p:nvPr>
        </p:nvSpPr>
        <p:spPr>
          <a:xfrm>
            <a:off x="9072000" y="2880000"/>
            <a:ext cx="2736000" cy="3060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46"/>
          </p:nvPr>
        </p:nvSpPr>
        <p:spPr>
          <a:xfrm>
            <a:off x="9072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557881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siloe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2880000"/>
            <a:ext cx="3600000" cy="3060000"/>
          </a:xfr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40"/>
          </p:nvPr>
        </p:nvSpPr>
        <p:spPr>
          <a:xfrm>
            <a:off x="324000" y="1404000"/>
            <a:ext cx="3600000" cy="100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1" name="Symbol zastępczy tekstu 34"/>
          <p:cNvSpPr>
            <a:spLocks noGrp="1"/>
          </p:cNvSpPr>
          <p:nvPr>
            <p:ph type="body" sz="quarter" idx="41" hasCustomPrompt="1"/>
          </p:nvPr>
        </p:nvSpPr>
        <p:spPr>
          <a:xfrm>
            <a:off x="4284000" y="2880000"/>
            <a:ext cx="3600000" cy="3060000"/>
          </a:xfr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42"/>
          </p:nvPr>
        </p:nvSpPr>
        <p:spPr>
          <a:xfrm>
            <a:off x="4284000" y="1404000"/>
            <a:ext cx="3600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3" name="Symbol zastępczy tekstu 34"/>
          <p:cNvSpPr>
            <a:spLocks noGrp="1"/>
          </p:cNvSpPr>
          <p:nvPr>
            <p:ph type="body" sz="quarter" idx="43" hasCustomPrompt="1"/>
          </p:nvPr>
        </p:nvSpPr>
        <p:spPr>
          <a:xfrm>
            <a:off x="8244000" y="2880000"/>
            <a:ext cx="3600000" cy="3060000"/>
          </a:xfr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44"/>
          </p:nvPr>
        </p:nvSpPr>
        <p:spPr>
          <a:xfrm>
            <a:off x="8244000" y="1404000"/>
            <a:ext cx="3600000" cy="100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283003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Mo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tytułu 1"/>
          <p:cNvSpPr>
            <a:spLocks noGrp="1"/>
          </p:cNvSpPr>
          <p:nvPr>
            <p:ph type="title" hasCustomPrompt="1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Agenda title modern</a:t>
            </a:r>
          </a:p>
        </p:txBody>
      </p:sp>
      <p:sp>
        <p:nvSpPr>
          <p:cNvPr id="7" name="Symbol zastępczy numeru slajdu 11"/>
          <p:cNvSpPr>
            <a:spLocks noGrp="1"/>
          </p:cNvSpPr>
          <p:nvPr>
            <p:ph type="sldNum" sz="quarter" idx="4"/>
          </p:nvPr>
        </p:nvSpPr>
        <p:spPr>
          <a:xfrm>
            <a:off x="324000" y="6442488"/>
            <a:ext cx="3360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E97D1ED-A9A5-4FA6-8A2B-6829026A21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600000" y="1700808"/>
            <a:ext cx="5868000" cy="576000"/>
          </a:xfrm>
          <a:solidFill>
            <a:srgbClr val="7F92B1"/>
          </a:solidFill>
          <a:ln w="12700"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  <a:lvl2pPr marL="0" indent="0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agenda</a:t>
            </a:r>
            <a:endParaRPr lang="de-DE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0" y="2348808"/>
            <a:ext cx="5868000" cy="576000"/>
          </a:xfrm>
          <a:solidFill>
            <a:srgbClr val="D1D1D1"/>
          </a:solidFill>
          <a:ln w="12700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SzTx/>
              <a:buFont typeface="Arial Narrow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SzTx/>
              <a:buFont typeface="Arial Narrow" pitchFamily="34" charset="0"/>
              <a:buNone/>
              <a:tabLst/>
              <a:defRPr/>
            </a:pP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agenda</a:t>
            </a:r>
            <a:endParaRPr lang="de-DE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2736000" y="1700808"/>
            <a:ext cx="756000" cy="576000"/>
          </a:xfrm>
          <a:prstGeom prst="rect">
            <a:avLst/>
          </a:prstGeom>
          <a:solidFill>
            <a:srgbClr val="335182"/>
          </a:solidFill>
          <a:ln w="12700">
            <a:noFill/>
          </a:ln>
          <a:extLst/>
        </p:spPr>
        <p:txBody>
          <a:bodyPr/>
          <a:lstStyle>
            <a:lvl1pPr marL="0" indent="0" algn="ctr">
              <a:buNone/>
              <a:defRPr b="0">
                <a:solidFill>
                  <a:srgbClr val="FFFFFF"/>
                </a:solidFill>
              </a:defRPr>
            </a:lvl1pPr>
            <a:lvl2pPr marL="0" indent="0" algn="ctr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2736000" y="2348808"/>
            <a:ext cx="756000" cy="576000"/>
          </a:xfrm>
          <a:prstGeom prst="rect">
            <a:avLst/>
          </a:prstGeom>
          <a:solidFill>
            <a:srgbClr val="D1D1D1"/>
          </a:solidFill>
          <a:ln w="12700">
            <a:noFill/>
          </a:ln>
          <a:extLst/>
        </p:spPr>
        <p:txBody>
          <a:bodyPr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600000" y="2996808"/>
            <a:ext cx="5868000" cy="576000"/>
          </a:xfrm>
          <a:solidFill>
            <a:srgbClr val="D1D1D1"/>
          </a:solidFill>
          <a:ln w="127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agenda</a:t>
            </a:r>
            <a:endParaRPr lang="de-DE" dirty="0"/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2736000" y="2996808"/>
            <a:ext cx="756000" cy="576000"/>
          </a:xfrm>
          <a:prstGeom prst="rect">
            <a:avLst/>
          </a:prstGeom>
          <a:solidFill>
            <a:srgbClr val="D1D1D1"/>
          </a:solidFill>
          <a:ln w="12700">
            <a:noFill/>
          </a:ln>
          <a:extLst/>
        </p:spPr>
        <p:txBody>
          <a:bodyPr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600000" y="3644808"/>
            <a:ext cx="5868000" cy="576000"/>
          </a:xfrm>
          <a:solidFill>
            <a:srgbClr val="D1D1D1"/>
          </a:solidFill>
          <a:ln w="127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agenda</a:t>
            </a:r>
            <a:endParaRPr lang="de-DE" dirty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2736000" y="3644808"/>
            <a:ext cx="756000" cy="576000"/>
          </a:xfrm>
          <a:prstGeom prst="rect">
            <a:avLst/>
          </a:prstGeom>
          <a:solidFill>
            <a:srgbClr val="D1D1D1"/>
          </a:solidFill>
          <a:ln w="12700">
            <a:noFill/>
          </a:ln>
          <a:extLst/>
        </p:spPr>
        <p:txBody>
          <a:bodyPr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3600000" y="4292808"/>
            <a:ext cx="5868000" cy="576000"/>
          </a:xfrm>
          <a:solidFill>
            <a:srgbClr val="D1D1D1"/>
          </a:solidFill>
          <a:ln w="127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/>
              <a:t>last </a:t>
            </a:r>
            <a:r>
              <a:rPr lang="de-DE" dirty="0" err="1"/>
              <a:t>agenda</a:t>
            </a:r>
            <a:endParaRPr lang="de-DE" dirty="0"/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736000" y="4292808"/>
            <a:ext cx="756000" cy="576000"/>
          </a:xfrm>
          <a:prstGeom prst="rect">
            <a:avLst/>
          </a:prstGeom>
          <a:solidFill>
            <a:srgbClr val="D1D1D1"/>
          </a:solidFill>
          <a:ln w="12700">
            <a:noFill/>
          </a:ln>
          <a:extLst/>
        </p:spPr>
        <p:txBody>
          <a:bodyPr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rgbClr val="005EAB"/>
                </a:solidFill>
              </a:defRPr>
            </a:lvl2pPr>
            <a:lvl3pPr marL="177800" indent="-17780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177800" indent="-177800">
              <a:defRPr>
                <a:solidFill>
                  <a:srgbClr val="005EAB"/>
                </a:solidFill>
              </a:defRPr>
            </a:lvl4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16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4_1_text_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2880000"/>
            <a:ext cx="11484000" cy="3060000"/>
          </a:xfrm>
          <a:ln>
            <a:solidFill>
              <a:schemeClr val="bg1">
                <a:lumMod val="95000"/>
              </a:schemeClr>
            </a:solidFill>
          </a:ln>
        </p:spPr>
        <p:txBody>
          <a:bodyPr lIns="72000" tIns="72000" rIns="0" bIns="0" anchor="t">
            <a:noAutofit/>
          </a:bodyPr>
          <a:lstStyle>
            <a:lvl3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/>
            </a:lvl3pPr>
          </a:lstStyle>
          <a:p>
            <a:pPr lvl="2"/>
            <a:r>
              <a:rPr lang="de-AT" noProof="0" dirty="0"/>
              <a:t>Text	</a:t>
            </a:r>
            <a:endParaRPr lang="pl-PL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40"/>
          </p:nvPr>
        </p:nvSpPr>
        <p:spPr>
          <a:xfrm>
            <a:off x="324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lang="de-AT" sz="18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42"/>
          </p:nvPr>
        </p:nvSpPr>
        <p:spPr>
          <a:xfrm>
            <a:off x="3240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rgbClr val="335182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44"/>
          </p:nvPr>
        </p:nvSpPr>
        <p:spPr>
          <a:xfrm>
            <a:off x="6156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46"/>
          </p:nvPr>
        </p:nvSpPr>
        <p:spPr>
          <a:xfrm>
            <a:off x="9072000" y="1404000"/>
            <a:ext cx="2736000" cy="1008000"/>
          </a:xfrm>
          <a:prstGeom prst="rect">
            <a:avLst/>
          </a:prstGeom>
          <a:solidFill>
            <a:srgbClr val="335182"/>
          </a:solidFill>
          <a:ln>
            <a:solidFill>
              <a:schemeClr val="accent3"/>
            </a:solidFill>
          </a:ln>
        </p:spPr>
        <p:txBody>
          <a:bodyPr lIns="36000" anchor="ctr" anchorCtr="1">
            <a:no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Text</a:t>
            </a:r>
            <a:endParaRPr lang="de-AT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2117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ymbol zastępczy tekstu 15"/>
          <p:cNvSpPr>
            <a:spLocks noGrp="1"/>
          </p:cNvSpPr>
          <p:nvPr>
            <p:ph type="body" sz="quarter" idx="14" hasCustomPrompt="1"/>
          </p:nvPr>
        </p:nvSpPr>
        <p:spPr>
          <a:xfrm>
            <a:off x="7956000" y="468000"/>
            <a:ext cx="2844000" cy="90131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800" i="1" baseline="0">
                <a:solidFill>
                  <a:srgbClr val="FFC000"/>
                </a:solidFill>
              </a:defRPr>
            </a:lvl1pPr>
          </a:lstStyle>
          <a:p>
            <a:pPr lvl="0"/>
            <a:r>
              <a:rPr lang="pl-PL" noProof="0"/>
              <a:t>Area for client </a:t>
            </a:r>
            <a:br>
              <a:rPr lang="pl-PL" noProof="0"/>
            </a:br>
            <a:r>
              <a:rPr lang="pl-PL" noProof="0"/>
              <a:t>LOGO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5" hasCustomPrompt="1"/>
          </p:nvPr>
        </p:nvSpPr>
        <p:spPr>
          <a:xfrm>
            <a:off x="900000" y="3708000"/>
            <a:ext cx="8424000" cy="324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pl-PL" noProof="0"/>
              <a:t>Full Name</a:t>
            </a:r>
          </a:p>
        </p:txBody>
      </p:sp>
      <p:sp>
        <p:nvSpPr>
          <p:cNvPr id="26" name="Symbol zastępczy tekstu 25"/>
          <p:cNvSpPr>
            <a:spLocks noGrp="1"/>
          </p:cNvSpPr>
          <p:nvPr>
            <p:ph type="body" sz="quarter" idx="16" hasCustomPrompt="1"/>
          </p:nvPr>
        </p:nvSpPr>
        <p:spPr>
          <a:xfrm>
            <a:off x="900000" y="4752000"/>
            <a:ext cx="6624000" cy="216000"/>
          </a:xfrm>
        </p:spPr>
        <p:txBody>
          <a:bodyPr tIns="0" bIns="0" anchor="ctr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pl-PL" noProof="0"/>
              <a:t>Phone number or e-mail adress</a:t>
            </a:r>
          </a:p>
        </p:txBody>
      </p:sp>
      <p:sp>
        <p:nvSpPr>
          <p:cNvPr id="27" name="Symbol zastępczy tekstu 25"/>
          <p:cNvSpPr>
            <a:spLocks noGrp="1"/>
          </p:cNvSpPr>
          <p:nvPr>
            <p:ph type="body" sz="quarter" idx="17" hasCustomPrompt="1"/>
          </p:nvPr>
        </p:nvSpPr>
        <p:spPr>
          <a:xfrm>
            <a:off x="900000" y="5005388"/>
            <a:ext cx="6624000" cy="216000"/>
          </a:xfrm>
        </p:spPr>
        <p:txBody>
          <a:bodyPr tIns="0" bIns="0" anchor="ctr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pl-PL" noProof="0"/>
              <a:t>Phone number or e-mail adress</a:t>
            </a:r>
          </a:p>
        </p:txBody>
      </p:sp>
      <p:sp>
        <p:nvSpPr>
          <p:cNvPr id="7" name="Symbol zastępczy tekstu 25"/>
          <p:cNvSpPr>
            <a:spLocks noGrp="1"/>
          </p:cNvSpPr>
          <p:nvPr>
            <p:ph type="body" sz="quarter" idx="18" hasCustomPrompt="1"/>
          </p:nvPr>
        </p:nvSpPr>
        <p:spPr>
          <a:xfrm>
            <a:off x="900000" y="4068000"/>
            <a:ext cx="8424000" cy="25200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noProof="0"/>
              <a:t>Position</a:t>
            </a:r>
          </a:p>
        </p:txBody>
      </p:sp>
      <p:sp>
        <p:nvSpPr>
          <p:cNvPr id="8" name="Tytuł 7"/>
          <p:cNvSpPr>
            <a:spLocks noGrp="1"/>
          </p:cNvSpPr>
          <p:nvPr>
            <p:ph type="title" hasCustomPrompt="1"/>
          </p:nvPr>
        </p:nvSpPr>
        <p:spPr>
          <a:xfrm>
            <a:off x="900000" y="1692000"/>
            <a:ext cx="8424000" cy="1512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hank you!</a:t>
            </a:r>
            <a:endParaRPr lang="pl-PL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F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tytułu 1"/>
          <p:cNvSpPr>
            <a:spLocks noGrp="1"/>
          </p:cNvSpPr>
          <p:nvPr>
            <p:ph type="title" hasCustomPrompt="1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Agenda title fast</a:t>
            </a:r>
          </a:p>
        </p:txBody>
      </p:sp>
      <p:sp>
        <p:nvSpPr>
          <p:cNvPr id="6" name="Symbol zastępczy tekstu 2"/>
          <p:cNvSpPr>
            <a:spLocks noGrp="1"/>
          </p:cNvSpPr>
          <p:nvPr>
            <p:ph idx="1" hasCustomPrompt="1"/>
          </p:nvPr>
        </p:nvSpPr>
        <p:spPr>
          <a:xfrm>
            <a:off x="324000" y="1260000"/>
            <a:ext cx="11518900" cy="467995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>
            <a:lvl4pPr marL="558000" indent="0"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Agenda point 1 / main level of the bulleted list</a:t>
            </a:r>
          </a:p>
          <a:p>
            <a:pPr lvl="1"/>
            <a:r>
              <a:rPr lang="en-US" noProof="0" dirty="0"/>
              <a:t>Agenda point 2 with distinction  / first level of the list</a:t>
            </a:r>
          </a:p>
          <a:p>
            <a:pPr lvl="2"/>
            <a:r>
              <a:rPr lang="en-US" noProof="0" dirty="0"/>
              <a:t>Agenda point 1.1 / second level of the list</a:t>
            </a:r>
          </a:p>
          <a:p>
            <a:pPr lvl="3"/>
            <a:r>
              <a:rPr lang="en-US" noProof="0" dirty="0"/>
              <a:t>Agenda point 2.1 with distinction / third level of the list</a:t>
            </a:r>
          </a:p>
          <a:p>
            <a:pPr lvl="4"/>
            <a:r>
              <a:rPr lang="en-US" noProof="0" dirty="0"/>
              <a:t>WRONG! No fourth level of the list.</a:t>
            </a:r>
          </a:p>
        </p:txBody>
      </p:sp>
      <p:sp>
        <p:nvSpPr>
          <p:cNvPr id="7" name="Symbol zastępczy numeru slajdu 11"/>
          <p:cNvSpPr>
            <a:spLocks noGrp="1"/>
          </p:cNvSpPr>
          <p:nvPr>
            <p:ph type="sldNum" sz="quarter" idx="4"/>
          </p:nvPr>
        </p:nvSpPr>
        <p:spPr>
          <a:xfrm>
            <a:off x="324000" y="6442488"/>
            <a:ext cx="3360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E97D1ED-A9A5-4FA6-8A2B-6829026A21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987414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ymbol zastępczy tekstu 24"/>
          <p:cNvSpPr>
            <a:spLocks noGrp="1"/>
          </p:cNvSpPr>
          <p:nvPr>
            <p:ph type="body" sz="quarter" idx="26" hasCustomPrompt="1"/>
          </p:nvPr>
        </p:nvSpPr>
        <p:spPr>
          <a:xfrm>
            <a:off x="324000" y="1404000"/>
            <a:ext cx="11518901" cy="4535313"/>
          </a:xfrm>
        </p:spPr>
        <p:txBody>
          <a:bodyPr/>
          <a:lstStyle>
            <a:lvl2pPr>
              <a:defRPr baseline="0"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dirty="0"/>
              <a:t>Main level of bulleted list for add content; Arial Narrow 20 pt</a:t>
            </a:r>
          </a:p>
          <a:p>
            <a:pPr lvl="1"/>
            <a:r>
              <a:rPr lang="en-US" noProof="0" dirty="0"/>
              <a:t>Second level of the list; Arial Narrow 18 pt</a:t>
            </a:r>
          </a:p>
          <a:p>
            <a:pPr lvl="2"/>
            <a:r>
              <a:rPr lang="en-US" noProof="0" dirty="0"/>
              <a:t>Third level of the list; Arial Narrow 16 pt</a:t>
            </a:r>
          </a:p>
          <a:p>
            <a:pPr lvl="3"/>
            <a:r>
              <a:rPr lang="en-US" noProof="0" dirty="0"/>
              <a:t>Fourth level of the list; Arial Narrow 14 pt</a:t>
            </a:r>
          </a:p>
          <a:p>
            <a:pPr lvl="4"/>
            <a:r>
              <a:rPr lang="en-US" noProof="0" dirty="0"/>
              <a:t>Fifth level of the list; Arial Narrow 12 p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8"/>
          </p:nvPr>
        </p:nvSpPr>
        <p:spPr>
          <a:xfrm>
            <a:off x="324000" y="6444000"/>
            <a:ext cx="336000" cy="252000"/>
          </a:xfrm>
        </p:spPr>
        <p:txBody>
          <a:bodyPr/>
          <a:lstStyle>
            <a:lvl1pPr algn="l">
              <a:defRPr/>
            </a:lvl1pPr>
          </a:lstStyle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1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8"/>
          </p:nvPr>
        </p:nvSpPr>
        <p:spPr>
          <a:xfrm>
            <a:off x="324000" y="6444000"/>
            <a:ext cx="336000" cy="252000"/>
          </a:xfrm>
        </p:spPr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1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6648207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8"/>
          </p:nvPr>
        </p:nvSpPr>
        <p:spPr>
          <a:xfrm>
            <a:off x="324000" y="6444000"/>
            <a:ext cx="336000" cy="252000"/>
          </a:xfrm>
        </p:spPr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1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31"/>
          </p:nvPr>
        </p:nvSpPr>
        <p:spPr>
          <a:xfrm>
            <a:off x="324000" y="1404000"/>
            <a:ext cx="11520000" cy="4536000"/>
          </a:xfrm>
        </p:spPr>
        <p:txBody>
          <a:bodyPr/>
          <a:lstStyle/>
          <a:p>
            <a:endParaRPr lang="de-AT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5243271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1404000"/>
            <a:ext cx="5544000" cy="4535313"/>
          </a:xfrm>
        </p:spPr>
        <p:txBody>
          <a:bodyPr anchor="t"/>
          <a:lstStyle/>
          <a:p>
            <a:pPr lvl="0"/>
            <a:r>
              <a:rPr lang="pl-PL" noProof="0" dirty="0"/>
              <a:t>Main level of bulleted list for add content; Arial Narrow 20 pt</a:t>
            </a:r>
          </a:p>
          <a:p>
            <a:pPr lvl="1"/>
            <a:r>
              <a:rPr lang="pl-PL" noProof="0" dirty="0"/>
              <a:t>Second level of the list; Arial Narrow 18 pt</a:t>
            </a:r>
          </a:p>
          <a:p>
            <a:pPr lvl="2"/>
            <a:r>
              <a:rPr lang="pl-PL" noProof="0" dirty="0"/>
              <a:t>Third leve of the listl; Arial Narrow 16 pt</a:t>
            </a:r>
          </a:p>
          <a:p>
            <a:pPr lvl="3"/>
            <a:r>
              <a:rPr lang="pl-PL" noProof="0" dirty="0"/>
              <a:t>Foruth level of the list; Arial Narrow 14 pt</a:t>
            </a:r>
          </a:p>
          <a:p>
            <a:pPr lvl="4"/>
            <a:r>
              <a:rPr lang="pl-PL" noProof="0" dirty="0"/>
              <a:t>Fifth level of the list; Arial Narrow 12 pt</a:t>
            </a:r>
          </a:p>
        </p:txBody>
      </p:sp>
      <p:sp>
        <p:nvSpPr>
          <p:cNvPr id="36" name="Symbol zastępczy tekstu 34"/>
          <p:cNvSpPr>
            <a:spLocks noGrp="1"/>
          </p:cNvSpPr>
          <p:nvPr>
            <p:ph type="body" sz="quarter" idx="28" hasCustomPrompt="1"/>
          </p:nvPr>
        </p:nvSpPr>
        <p:spPr>
          <a:xfrm>
            <a:off x="6300000" y="1404000"/>
            <a:ext cx="5544000" cy="4535313"/>
          </a:xfrm>
        </p:spPr>
        <p:txBody>
          <a:bodyPr anchor="t"/>
          <a:lstStyle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Main level of bulleted list for add content; Arial Narrow 20 pt</a:t>
            </a:r>
          </a:p>
          <a:p>
            <a:pPr lvl="1"/>
            <a:r>
              <a:rPr lang="en-US" noProof="0" dirty="0"/>
              <a:t>Second level of the list; Arial Narrow 18 pt</a:t>
            </a:r>
          </a:p>
          <a:p>
            <a:pPr lvl="2"/>
            <a:r>
              <a:rPr lang="en-US" noProof="0" dirty="0"/>
              <a:t>Third level of the list; Arial Narrow 16 pt</a:t>
            </a:r>
          </a:p>
          <a:p>
            <a:pPr lvl="3"/>
            <a:r>
              <a:rPr lang="en-US" noProof="0" dirty="0"/>
              <a:t>Fourth level of the list; Arial Narrow 14 pt</a:t>
            </a:r>
          </a:p>
          <a:p>
            <a:pPr lvl="4"/>
            <a:r>
              <a:rPr lang="en-US" noProof="0" dirty="0"/>
              <a:t>Fifth level of the list; Arial Narrow 12 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ymbol zastępczy tekstu 34"/>
          <p:cNvSpPr>
            <a:spLocks noGrp="1"/>
          </p:cNvSpPr>
          <p:nvPr>
            <p:ph type="body" sz="quarter" idx="27" hasCustomPrompt="1"/>
          </p:nvPr>
        </p:nvSpPr>
        <p:spPr>
          <a:xfrm>
            <a:off x="324000" y="1404000"/>
            <a:ext cx="3600000" cy="4535313"/>
          </a:xfrm>
        </p:spPr>
        <p:txBody>
          <a:bodyPr anchor="t"/>
          <a:lstStyle/>
          <a:p>
            <a:pPr lvl="0"/>
            <a:r>
              <a:rPr lang="pl-PL" noProof="0" dirty="0"/>
              <a:t>Main level of bulleted list for add content; Arial Narrow 20 pt</a:t>
            </a:r>
          </a:p>
          <a:p>
            <a:pPr lvl="1"/>
            <a:r>
              <a:rPr lang="pl-PL" noProof="0" dirty="0"/>
              <a:t>Second level of the list; Arial Narrow 18 pt</a:t>
            </a:r>
          </a:p>
          <a:p>
            <a:pPr lvl="2"/>
            <a:r>
              <a:rPr lang="pl-PL" noProof="0" dirty="0"/>
              <a:t>Third leve of the listl; Arial Narrow 16 pt</a:t>
            </a:r>
          </a:p>
          <a:p>
            <a:pPr lvl="3"/>
            <a:r>
              <a:rPr lang="pl-PL" noProof="0" dirty="0"/>
              <a:t>Foruth level of the list; Arial Narrow 14 pt</a:t>
            </a:r>
          </a:p>
          <a:p>
            <a:pPr lvl="4"/>
            <a:r>
              <a:rPr lang="pl-PL" noProof="0" dirty="0"/>
              <a:t>Fifth level of the list; Arial Narrow 12 pt</a:t>
            </a:r>
          </a:p>
        </p:txBody>
      </p:sp>
      <p:sp>
        <p:nvSpPr>
          <p:cNvPr id="36" name="Symbol zastępczy tekstu 34"/>
          <p:cNvSpPr>
            <a:spLocks noGrp="1"/>
          </p:cNvSpPr>
          <p:nvPr>
            <p:ph type="body" sz="quarter" idx="28" hasCustomPrompt="1"/>
          </p:nvPr>
        </p:nvSpPr>
        <p:spPr>
          <a:xfrm>
            <a:off x="8244000" y="1404000"/>
            <a:ext cx="3600000" cy="4535313"/>
          </a:xfrm>
        </p:spPr>
        <p:txBody>
          <a:bodyPr anchor="t"/>
          <a:lstStyle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Main level of bulleted list for add content; Arial Narrow 20 pt</a:t>
            </a:r>
          </a:p>
          <a:p>
            <a:pPr lvl="1"/>
            <a:r>
              <a:rPr lang="en-US" noProof="0" dirty="0"/>
              <a:t>Second level of the list; Arial Narrow 18 pt</a:t>
            </a:r>
          </a:p>
          <a:p>
            <a:pPr lvl="2"/>
            <a:r>
              <a:rPr lang="en-US" noProof="0" dirty="0"/>
              <a:t>Third level of the list; Arial Narrow 16 pt</a:t>
            </a:r>
          </a:p>
          <a:p>
            <a:pPr lvl="3"/>
            <a:r>
              <a:rPr lang="en-US" noProof="0" dirty="0"/>
              <a:t>Fourth level of the list; Arial Narrow 14 pt</a:t>
            </a:r>
          </a:p>
          <a:p>
            <a:pPr lvl="4"/>
            <a:r>
              <a:rPr lang="en-US" noProof="0" dirty="0"/>
              <a:t>Fifth level of the list; Arial Narrow 12 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11" name="Symbol zastępczy tekstu 34"/>
          <p:cNvSpPr>
            <a:spLocks noGrp="1"/>
          </p:cNvSpPr>
          <p:nvPr>
            <p:ph type="body" sz="quarter" idx="33" hasCustomPrompt="1"/>
          </p:nvPr>
        </p:nvSpPr>
        <p:spPr>
          <a:xfrm>
            <a:off x="4284000" y="1404000"/>
            <a:ext cx="3600000" cy="4535313"/>
          </a:xfrm>
        </p:spPr>
        <p:txBody>
          <a:bodyPr anchor="t"/>
          <a:lstStyle/>
          <a:p>
            <a:pPr lvl="0"/>
            <a:r>
              <a:rPr lang="pl-PL" noProof="0" dirty="0"/>
              <a:t>Main level of bulleted list for add content; Arial Narrow 20 pt</a:t>
            </a:r>
          </a:p>
          <a:p>
            <a:pPr lvl="1"/>
            <a:r>
              <a:rPr lang="pl-PL" noProof="0" dirty="0"/>
              <a:t>Second level of the list; Arial Narrow 18 pt</a:t>
            </a:r>
          </a:p>
          <a:p>
            <a:pPr lvl="2"/>
            <a:r>
              <a:rPr lang="pl-PL" noProof="0" dirty="0"/>
              <a:t>Third leve of the listl; Arial Narrow 16 pt</a:t>
            </a:r>
          </a:p>
          <a:p>
            <a:pPr lvl="3"/>
            <a:r>
              <a:rPr lang="pl-PL" noProof="0" dirty="0"/>
              <a:t>Foruth level of the list; Arial Narrow 14 pt</a:t>
            </a:r>
          </a:p>
          <a:p>
            <a:pPr lvl="4"/>
            <a:r>
              <a:rPr lang="pl-PL" noProof="0" dirty="0"/>
              <a:t>Fifth level of the list; Arial Narrow 12 pt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0912075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small_right_p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tekstu 34"/>
          <p:cNvSpPr>
            <a:spLocks noGrp="1"/>
          </p:cNvSpPr>
          <p:nvPr>
            <p:ph type="body" sz="quarter" idx="28" hasCustomPrompt="1"/>
          </p:nvPr>
        </p:nvSpPr>
        <p:spPr>
          <a:xfrm>
            <a:off x="8964000" y="1404000"/>
            <a:ext cx="2880000" cy="4535313"/>
          </a:xfrm>
        </p:spPr>
        <p:txBody>
          <a:bodyPr lIns="0" tIns="0" rIns="0" bIns="72000" anchor="t">
            <a:normAutofit/>
          </a:bodyPr>
          <a:lstStyle>
            <a:lvl3pPr marL="252000" indent="-252000">
              <a:spcBef>
                <a:spcPts val="0"/>
              </a:spcBef>
              <a:defRPr sz="1400"/>
            </a:lvl3pPr>
            <a:lvl4pPr>
              <a:defRPr/>
            </a:lvl4pPr>
          </a:lstStyle>
          <a:p>
            <a:pPr lvl="2"/>
            <a:r>
              <a:rPr lang="en-US" noProof="0" dirty="0"/>
              <a:t>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24000" y="900000"/>
            <a:ext cx="11518901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Title</a:t>
            </a:r>
          </a:p>
        </p:txBody>
      </p:sp>
      <p:sp>
        <p:nvSpPr>
          <p:cNvPr id="10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33"/>
          </p:nvPr>
        </p:nvSpPr>
        <p:spPr>
          <a:xfrm>
            <a:off x="324000" y="1404000"/>
            <a:ext cx="8244000" cy="4536000"/>
          </a:xfrm>
        </p:spPr>
        <p:txBody>
          <a:bodyPr/>
          <a:lstStyle/>
          <a:p>
            <a:endParaRPr lang="de-AT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0789674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6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3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Łącznik prosty 19"/>
          <p:cNvCxnSpPr/>
          <p:nvPr/>
        </p:nvCxnSpPr>
        <p:spPr>
          <a:xfrm>
            <a:off x="0" y="3420000"/>
            <a:ext cx="12192000" cy="1588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ymbol zastępczy tytułu 23"/>
          <p:cNvSpPr>
            <a:spLocks noGrp="1"/>
          </p:cNvSpPr>
          <p:nvPr>
            <p:ph type="title"/>
          </p:nvPr>
        </p:nvSpPr>
        <p:spPr>
          <a:xfrm>
            <a:off x="900000" y="1692000"/>
            <a:ext cx="8424000" cy="1512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 dirty="0"/>
              <a:t>Title of the presentation</a:t>
            </a:r>
          </a:p>
        </p:txBody>
      </p:sp>
      <p:sp>
        <p:nvSpPr>
          <p:cNvPr id="25" name="Symbol zastępczy tekstu 24"/>
          <p:cNvSpPr>
            <a:spLocks noGrp="1"/>
          </p:cNvSpPr>
          <p:nvPr>
            <p:ph type="body" idx="1"/>
          </p:nvPr>
        </p:nvSpPr>
        <p:spPr>
          <a:xfrm>
            <a:off x="900000" y="3672000"/>
            <a:ext cx="8424000" cy="79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Subtitle of the presentatio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0" y="3852000"/>
            <a:ext cx="3078225" cy="2998984"/>
          </a:xfrm>
          <a:prstGeom prst="rect">
            <a:avLst/>
          </a:prstGeom>
        </p:spPr>
      </p:pic>
      <p:pic>
        <p:nvPicPr>
          <p:cNvPr id="10" name="Picture 2" descr="C:\Users\Mathias Koch\2014\Klienten 2014\Axxiome\Logo_Colour_Taglin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00" y="5436000"/>
            <a:ext cx="2108200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</p:sldLayoutIdLst>
  <p:transition spd="slow">
    <p:fade thruBlk="1"/>
  </p:transition>
  <p:hf hdr="0" dt="0"/>
  <p:txStyles>
    <p:titleStyle>
      <a:lvl1pPr algn="l" defTabSz="914400" rtl="0" eaLnBrk="1" latinLnBrk="0" hangingPunct="1">
        <a:lnSpc>
          <a:spcPts val="3600"/>
        </a:lnSpc>
        <a:spcBef>
          <a:spcPct val="0"/>
        </a:spcBef>
        <a:buNone/>
        <a:defRPr sz="4000" b="0" kern="1200" spc="0" baseline="0">
          <a:solidFill>
            <a:schemeClr val="accent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588" indent="-1588" algn="l" defTabSz="914400" rtl="0" eaLnBrk="1" latinLnBrk="0" hangingPunct="1">
        <a:lnSpc>
          <a:spcPts val="2600"/>
        </a:lnSpc>
        <a:spcBef>
          <a:spcPts val="0"/>
        </a:spcBef>
        <a:buClr>
          <a:schemeClr val="accent2">
            <a:lumMod val="75000"/>
          </a:schemeClr>
        </a:buClr>
        <a:buFont typeface="Arial Narrow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60000" algn="l" defTabSz="914400" rtl="0" eaLnBrk="1" latinLnBrk="0" hangingPunct="1">
        <a:spcBef>
          <a:spcPts val="600"/>
        </a:spcBef>
        <a:buClr>
          <a:schemeClr val="accent2">
            <a:lumMod val="75000"/>
          </a:schemeClr>
        </a:buClr>
        <a:buSzPct val="100000"/>
        <a:buFont typeface="Arial Narrow" pitchFamily="34" charset="0"/>
        <a:buChar char="●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266700" algn="l" defTabSz="914400" rtl="0" eaLnBrk="1" latinLnBrk="0" hangingPunct="1">
        <a:spcBef>
          <a:spcPts val="100"/>
        </a:spcBef>
        <a:buClrTx/>
        <a:buSzPct val="100000"/>
        <a:buFont typeface="Arial Narrow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190500" algn="l" defTabSz="804863" rtl="0" eaLnBrk="1" fontAlgn="auto" latinLnBrk="0" hangingPunct="1">
        <a:lnSpc>
          <a:spcPct val="100000"/>
        </a:lnSpc>
        <a:spcBef>
          <a:spcPts val="100"/>
        </a:spcBef>
        <a:spcAft>
          <a:spcPts val="0"/>
        </a:spcAft>
        <a:buClrTx/>
        <a:buSzTx/>
        <a:buFont typeface="Arial Narrow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77800" algn="l" defTabSz="914400" rtl="0" eaLnBrk="1" latinLnBrk="0" hangingPunct="1">
        <a:spcBef>
          <a:spcPts val="100"/>
        </a:spcBef>
        <a:buClrTx/>
        <a:buFont typeface="Arial Narrow" pitchFamily="34" charset="0"/>
        <a:buChar char="−"/>
        <a:tabLst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Agenda title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24000" y="1260000"/>
            <a:ext cx="11520000" cy="467995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noProof="0" dirty="0"/>
              <a:t>Agenda point 1 / main level of the bulleted list</a:t>
            </a:r>
          </a:p>
          <a:p>
            <a:pPr lvl="1"/>
            <a:r>
              <a:rPr lang="en-US" noProof="0" dirty="0"/>
              <a:t>Agenda point 2 with distinction  / first level of the list</a:t>
            </a:r>
          </a:p>
          <a:p>
            <a:pPr lvl="2"/>
            <a:r>
              <a:rPr lang="en-US" noProof="0" dirty="0"/>
              <a:t>Agenda point 1.1 / second level of the list</a:t>
            </a:r>
          </a:p>
          <a:p>
            <a:pPr lvl="3"/>
            <a:r>
              <a:rPr lang="en-US" noProof="0" dirty="0"/>
              <a:t>Agenda point 2.1 with distinction / third level of the list</a:t>
            </a:r>
          </a:p>
          <a:p>
            <a:pPr lvl="4"/>
            <a:r>
              <a:rPr lang="en-US" noProof="0" dirty="0"/>
              <a:t>WRONG! No fourth level of the list.</a:t>
            </a:r>
          </a:p>
        </p:txBody>
      </p:sp>
      <p:cxnSp>
        <p:nvCxnSpPr>
          <p:cNvPr id="11" name="Łącznik prosty 10"/>
          <p:cNvCxnSpPr/>
          <p:nvPr/>
        </p:nvCxnSpPr>
        <p:spPr>
          <a:xfrm>
            <a:off x="0" y="828000"/>
            <a:ext cx="12192000" cy="1588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Łącznik prosty 11"/>
          <p:cNvCxnSpPr/>
          <p:nvPr/>
        </p:nvCxnSpPr>
        <p:spPr>
          <a:xfrm>
            <a:off x="0" y="6300000"/>
            <a:ext cx="12192000" cy="1588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ymbol zastępczy numeru slajdu 11"/>
          <p:cNvSpPr>
            <a:spLocks noGrp="1"/>
          </p:cNvSpPr>
          <p:nvPr>
            <p:ph type="sldNum" sz="quarter" idx="4"/>
          </p:nvPr>
        </p:nvSpPr>
        <p:spPr>
          <a:xfrm>
            <a:off x="324000" y="6442488"/>
            <a:ext cx="3600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E97D1ED-A9A5-4FA6-8A2B-6829026A21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pic>
        <p:nvPicPr>
          <p:cNvPr id="15" name="Picture 2" descr="C:\Users\Mathias Koch\2014\Klienten 2014\Axxiome\Logo_Colour_Taglin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8000" y="6408000"/>
            <a:ext cx="1054100" cy="35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</p:sldLayoutIdLst>
  <p:transition spd="slow">
    <p:push dir="u"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540000" algn="l" defTabSz="914400" rtl="0" eaLnBrk="1" latinLnBrk="0" hangingPunct="1">
        <a:spcBef>
          <a:spcPts val="300"/>
        </a:spcBef>
        <a:buClr>
          <a:schemeClr val="bg1">
            <a:lumMod val="75000"/>
          </a:schemeClr>
        </a:buClr>
        <a:buFont typeface="Arial Narrow" pitchFamily="34" charset="0"/>
        <a:buChar char="●"/>
        <a:defRPr sz="22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1pPr>
      <a:lvl2pPr marL="360000" indent="-540000" algn="l" defTabSz="914400" rtl="0" eaLnBrk="1" latinLnBrk="0" hangingPunct="1">
        <a:spcBef>
          <a:spcPts val="300"/>
        </a:spcBef>
        <a:buClr>
          <a:schemeClr val="accent2">
            <a:lumMod val="75000"/>
          </a:schemeClr>
        </a:buClr>
        <a:buFont typeface="Arial Narrow" pitchFamily="34" charset="0"/>
        <a:buChar char="●"/>
        <a:defRPr sz="2200" kern="120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2pPr>
      <a:lvl3pPr marL="844550" indent="-287338" algn="l" defTabSz="901700" rtl="0" eaLnBrk="1" latinLnBrk="0" hangingPunct="1">
        <a:spcBef>
          <a:spcPts val="100"/>
        </a:spcBef>
        <a:buClr>
          <a:schemeClr val="bg1">
            <a:lumMod val="75000"/>
          </a:schemeClr>
        </a:buClr>
        <a:buFont typeface="Arial Narrow" pitchFamily="34" charset="0"/>
        <a:buChar char="–"/>
        <a:defRPr sz="18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3pPr>
      <a:lvl4pPr marL="846000" indent="-288000" algn="l" defTabSz="914400" rtl="0" eaLnBrk="1" latinLnBrk="0" hangingPunct="1">
        <a:spcBef>
          <a:spcPts val="100"/>
        </a:spcBef>
        <a:buClr>
          <a:schemeClr val="accent2">
            <a:lumMod val="75000"/>
          </a:schemeClr>
        </a:buClr>
        <a:buFont typeface="Arial Narrow" pitchFamily="34" charset="0"/>
        <a:buChar char="–"/>
        <a:defRPr sz="1800" kern="120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4pPr>
      <a:lvl5pPr marL="533400" indent="-533400" algn="l" defTabSz="914400" rtl="0" eaLnBrk="1" latinLnBrk="0" hangingPunct="1">
        <a:spcBef>
          <a:spcPct val="20000"/>
        </a:spcBef>
        <a:buClr>
          <a:srgbClr val="FF0000"/>
        </a:buClr>
        <a:buSzPct val="100000"/>
        <a:buFont typeface="Wingdings" pitchFamily="2" charset="2"/>
        <a:buChar char=""/>
        <a:defRPr sz="1600" kern="1200" baseline="0">
          <a:solidFill>
            <a:srgbClr val="FF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6001770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Łącznik prosty 10"/>
          <p:cNvCxnSpPr/>
          <p:nvPr/>
        </p:nvCxnSpPr>
        <p:spPr>
          <a:xfrm>
            <a:off x="0" y="6300000"/>
            <a:ext cx="12192000" cy="1588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ymbol zastępczy tekstu 17"/>
          <p:cNvSpPr>
            <a:spLocks noGrp="1"/>
          </p:cNvSpPr>
          <p:nvPr>
            <p:ph type="body" idx="1"/>
          </p:nvPr>
        </p:nvSpPr>
        <p:spPr>
          <a:xfrm>
            <a:off x="324000" y="1404638"/>
            <a:ext cx="11518900" cy="457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noProof="0" dirty="0"/>
              <a:t>Level 1, Arial Narrow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Level 2, Arial Narrow 20pt</a:t>
            </a:r>
          </a:p>
          <a:p>
            <a:pPr lvl="2"/>
            <a:r>
              <a:rPr lang="en-US" noProof="0" dirty="0"/>
              <a:t>Level 3, Arial Narrow 18pt</a:t>
            </a:r>
          </a:p>
          <a:p>
            <a:pPr lvl="3"/>
            <a:r>
              <a:rPr lang="en-US" noProof="0" dirty="0"/>
              <a:t>Level 4 Arial Narrow 16pt</a:t>
            </a:r>
          </a:p>
          <a:p>
            <a:pPr lvl="4"/>
            <a:r>
              <a:rPr lang="en-US" noProof="0" dirty="0"/>
              <a:t>Level 5, Arial Narrow 14pt</a:t>
            </a:r>
          </a:p>
          <a:p>
            <a:pPr lvl="5"/>
            <a:r>
              <a:rPr lang="en-US" noProof="0" dirty="0"/>
              <a:t>Level 6, Arial Narrow 12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24000" y="6444000"/>
            <a:ext cx="3360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090E8E-FE56-4F17-9E46-D0FA12678F2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Symbol zastępczy stopki 8"/>
          <p:cNvSpPr>
            <a:spLocks noGrp="1"/>
          </p:cNvSpPr>
          <p:nvPr>
            <p:ph type="ftr" sz="quarter" idx="3"/>
          </p:nvPr>
        </p:nvSpPr>
        <p:spPr>
          <a:xfrm>
            <a:off x="1872000" y="6442488"/>
            <a:ext cx="6240000" cy="252000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resentation Title</a:t>
            </a:r>
            <a:endParaRPr lang="en-US" dirty="0"/>
          </a:p>
        </p:txBody>
      </p:sp>
      <p:pic>
        <p:nvPicPr>
          <p:cNvPr id="16" name="Picture 2" descr="C:\Users\Mathias Koch\2014\Klienten 2014\Axxiome\Logo_Colour_Tagline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8000" y="6408000"/>
            <a:ext cx="1054100" cy="35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Łącznik prosty 9"/>
          <p:cNvCxnSpPr/>
          <p:nvPr/>
        </p:nvCxnSpPr>
        <p:spPr>
          <a:xfrm>
            <a:off x="0" y="828000"/>
            <a:ext cx="12192000" cy="1588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title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3" r:id="rId2"/>
    <p:sldLayoutId id="2147483692" r:id="rId3"/>
    <p:sldLayoutId id="2147483666" r:id="rId4"/>
    <p:sldLayoutId id="2147483688" r:id="rId5"/>
    <p:sldLayoutId id="2147483683" r:id="rId6"/>
    <p:sldLayoutId id="2147483682" r:id="rId7"/>
    <p:sldLayoutId id="2147483681" r:id="rId8"/>
    <p:sldLayoutId id="2147483680" r:id="rId9"/>
    <p:sldLayoutId id="2147483693" r:id="rId10"/>
    <p:sldLayoutId id="2147483675" r:id="rId11"/>
    <p:sldLayoutId id="2147483685" r:id="rId12"/>
    <p:sldLayoutId id="2147483690" r:id="rId13"/>
    <p:sldLayoutId id="2147483691" r:id="rId14"/>
    <p:sldLayoutId id="2147483694" r:id="rId15"/>
    <p:sldLayoutId id="2147483695" r:id="rId16"/>
    <p:sldLayoutId id="2147483696" r:id="rId17"/>
  </p:sldLayoutIdLst>
  <p:transition spd="slow">
    <p:push dir="u"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lang="de-DE" sz="2600" b="0" kern="1200" spc="-50" baseline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88" indent="-1588" algn="l" defTabSz="914400" rtl="0" eaLnBrk="1" latinLnBrk="0" hangingPunct="1">
        <a:spcBef>
          <a:spcPct val="20000"/>
        </a:spcBef>
        <a:buClr>
          <a:schemeClr val="accent2">
            <a:lumMod val="75000"/>
          </a:schemeClr>
        </a:buClr>
        <a:buFont typeface="Arial Narrow" pitchFamily="34" charset="0"/>
        <a:buNone/>
        <a:defRPr sz="2000" b="1" kern="1200" baseline="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600"/>
        </a:spcBef>
        <a:buClr>
          <a:schemeClr val="accent2">
            <a:lumMod val="75000"/>
          </a:schemeClr>
        </a:buClr>
        <a:buSzPct val="100000"/>
        <a:buFontTx/>
        <a:buNone/>
        <a:defRPr sz="20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357188" algn="l" defTabSz="914400" rtl="0" eaLnBrk="1" latinLnBrk="0" hangingPunct="1">
        <a:spcBef>
          <a:spcPts val="100"/>
        </a:spcBef>
        <a:buClr>
          <a:schemeClr val="accent2">
            <a:lumMod val="75000"/>
          </a:schemeClr>
        </a:buClr>
        <a:buSzPct val="100000"/>
        <a:buFont typeface="Arial Narrow" panose="020B0606020202030204" pitchFamily="34" charset="0"/>
        <a:buChar char="●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27063" marR="0" indent="-277813" algn="l" defTabSz="804863" rtl="0" eaLnBrk="1" fontAlgn="auto" latinLnBrk="0" hangingPunct="1">
        <a:lnSpc>
          <a:spcPct val="100000"/>
        </a:lnSpc>
        <a:spcBef>
          <a:spcPts val="100"/>
        </a:spcBef>
        <a:spcAft>
          <a:spcPts val="0"/>
        </a:spcAft>
        <a:buClrTx/>
        <a:buSzTx/>
        <a:buFont typeface="Arial Narrow" panose="020B0606020202030204" pitchFamily="34" charset="0"/>
        <a:buChar char="−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82563" algn="l" defTabSz="914400" rtl="0" eaLnBrk="1" latinLnBrk="0" hangingPunct="1">
        <a:spcBef>
          <a:spcPts val="100"/>
        </a:spcBef>
        <a:buClrTx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25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Łącznik prosty 19"/>
          <p:cNvCxnSpPr/>
          <p:nvPr/>
        </p:nvCxnSpPr>
        <p:spPr>
          <a:xfrm>
            <a:off x="0" y="3420000"/>
            <a:ext cx="12192000" cy="1588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ymbol zastępczy tytułu 23"/>
          <p:cNvSpPr>
            <a:spLocks noGrp="1"/>
          </p:cNvSpPr>
          <p:nvPr>
            <p:ph type="title"/>
          </p:nvPr>
        </p:nvSpPr>
        <p:spPr>
          <a:xfrm>
            <a:off x="900000" y="1692000"/>
            <a:ext cx="8424000" cy="1512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 dirty="0"/>
              <a:t>Thank you!</a:t>
            </a:r>
          </a:p>
        </p:txBody>
      </p:sp>
      <p:sp>
        <p:nvSpPr>
          <p:cNvPr id="25" name="Symbol zastępczy tekstu 24"/>
          <p:cNvSpPr>
            <a:spLocks noGrp="1"/>
          </p:cNvSpPr>
          <p:nvPr>
            <p:ph type="body" idx="1"/>
          </p:nvPr>
        </p:nvSpPr>
        <p:spPr>
          <a:xfrm>
            <a:off x="900000" y="3708000"/>
            <a:ext cx="8424000" cy="36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Full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8000" y="3852000"/>
            <a:ext cx="3078225" cy="2998984"/>
          </a:xfrm>
          <a:prstGeom prst="rect">
            <a:avLst/>
          </a:prstGeom>
        </p:spPr>
      </p:pic>
      <p:pic>
        <p:nvPicPr>
          <p:cNvPr id="9" name="Picture 2" descr="C:\Users\Mathias Koch\2014\Klienten 2014\Axxiome\Logo_Colour_Taglin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00" y="5436000"/>
            <a:ext cx="2108200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transition spd="slow">
    <p:push dir="u"/>
  </p:transition>
  <p:hf hdr="0" dt="0"/>
  <p:txStyles>
    <p:titleStyle>
      <a:lvl1pPr algn="l" defTabSz="914400" rtl="0" eaLnBrk="1" latinLnBrk="0" hangingPunct="1">
        <a:lnSpc>
          <a:spcPts val="3600"/>
        </a:lnSpc>
        <a:spcBef>
          <a:spcPct val="0"/>
        </a:spcBef>
        <a:buNone/>
        <a:defRPr sz="4000" b="0" kern="1200" spc="0" baseline="0">
          <a:solidFill>
            <a:schemeClr val="accent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588" indent="-1588" algn="l" defTabSz="914400" rtl="0" eaLnBrk="1" latinLnBrk="0" hangingPunct="1">
        <a:lnSpc>
          <a:spcPts val="2600"/>
        </a:lnSpc>
        <a:spcBef>
          <a:spcPts val="0"/>
        </a:spcBef>
        <a:buClr>
          <a:schemeClr val="accent2">
            <a:lumMod val="75000"/>
          </a:schemeClr>
        </a:buClr>
        <a:buFont typeface="Arial Narrow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60000" algn="l" defTabSz="914400" rtl="0" eaLnBrk="1" latinLnBrk="0" hangingPunct="1">
        <a:spcBef>
          <a:spcPts val="600"/>
        </a:spcBef>
        <a:buClr>
          <a:schemeClr val="accent2">
            <a:lumMod val="75000"/>
          </a:schemeClr>
        </a:buClr>
        <a:buSzPct val="100000"/>
        <a:buFont typeface="Arial Narrow" pitchFamily="34" charset="0"/>
        <a:buChar char="●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266700" algn="l" defTabSz="914400" rtl="0" eaLnBrk="1" latinLnBrk="0" hangingPunct="1">
        <a:spcBef>
          <a:spcPts val="100"/>
        </a:spcBef>
        <a:buClrTx/>
        <a:buSzPct val="100000"/>
        <a:buFont typeface="Arial Narrow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190500" algn="l" defTabSz="804863" rtl="0" eaLnBrk="1" fontAlgn="auto" latinLnBrk="0" hangingPunct="1">
        <a:lnSpc>
          <a:spcPct val="100000"/>
        </a:lnSpc>
        <a:spcBef>
          <a:spcPts val="100"/>
        </a:spcBef>
        <a:spcAft>
          <a:spcPts val="0"/>
        </a:spcAft>
        <a:buClrTx/>
        <a:buSzTx/>
        <a:buFont typeface="Arial Narrow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77800" algn="l" defTabSz="914400" rtl="0" eaLnBrk="1" latinLnBrk="0" hangingPunct="1">
        <a:spcBef>
          <a:spcPts val="100"/>
        </a:spcBef>
        <a:buClrTx/>
        <a:buFont typeface="Arial Narrow" pitchFamily="34" charset="0"/>
        <a:buChar char="−"/>
        <a:tabLst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3.jpeg"/><Relationship Id="rId5" Type="http://schemas.openxmlformats.org/officeDocument/2006/relationships/image" Target="../media/image32.emf"/><Relationship Id="rId4" Type="http://schemas.openxmlformats.org/officeDocument/2006/relationships/image" Target="../media/image31.jpeg"/><Relationship Id="rId9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2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44.png"/><Relationship Id="rId4" Type="http://schemas.openxmlformats.org/officeDocument/2006/relationships/tags" Target="../tags/tag49.xml"/><Relationship Id="rId9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55.xml"/><Relationship Id="rId7" Type="http://schemas.openxmlformats.org/officeDocument/2006/relationships/image" Target="../media/image42.jpe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0.jpeg"/><Relationship Id="rId5" Type="http://schemas.openxmlformats.org/officeDocument/2006/relationships/image" Target="../media/image45.png"/><Relationship Id="rId4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6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9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1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2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8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4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4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notesSlide" Target="../notesSlides/notesSlide2.xml"/><Relationship Id="rId26" Type="http://schemas.openxmlformats.org/officeDocument/2006/relationships/image" Target="../media/image17.png"/><Relationship Id="rId39" Type="http://schemas.openxmlformats.org/officeDocument/2006/relationships/image" Target="../media/image30.png"/><Relationship Id="rId3" Type="http://schemas.openxmlformats.org/officeDocument/2006/relationships/tags" Target="../tags/tag5.xml"/><Relationship Id="rId21" Type="http://schemas.openxmlformats.org/officeDocument/2006/relationships/image" Target="../media/image12.png"/><Relationship Id="rId34" Type="http://schemas.openxmlformats.org/officeDocument/2006/relationships/image" Target="../media/image25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Layout" Target="../slideLayouts/slideLayout5.xml"/><Relationship Id="rId25" Type="http://schemas.openxmlformats.org/officeDocument/2006/relationships/image" Target="../media/image16.png"/><Relationship Id="rId33" Type="http://schemas.openxmlformats.org/officeDocument/2006/relationships/image" Target="../media/image24.jpeg"/><Relationship Id="rId38" Type="http://schemas.openxmlformats.org/officeDocument/2006/relationships/image" Target="../media/image29.jpe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11.png"/><Relationship Id="rId29" Type="http://schemas.openxmlformats.org/officeDocument/2006/relationships/image" Target="../media/image20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5.png"/><Relationship Id="rId32" Type="http://schemas.openxmlformats.org/officeDocument/2006/relationships/image" Target="../media/image23.png"/><Relationship Id="rId37" Type="http://schemas.openxmlformats.org/officeDocument/2006/relationships/image" Target="../media/image2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4.png"/><Relationship Id="rId28" Type="http://schemas.openxmlformats.org/officeDocument/2006/relationships/image" Target="../media/image19.jpeg"/><Relationship Id="rId36" Type="http://schemas.openxmlformats.org/officeDocument/2006/relationships/image" Target="../media/image27.png"/><Relationship Id="rId10" Type="http://schemas.openxmlformats.org/officeDocument/2006/relationships/tags" Target="../tags/tag12.xml"/><Relationship Id="rId19" Type="http://schemas.openxmlformats.org/officeDocument/2006/relationships/image" Target="../media/image10.png"/><Relationship Id="rId31" Type="http://schemas.openxmlformats.org/officeDocument/2006/relationships/image" Target="../media/image22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3.png"/><Relationship Id="rId27" Type="http://schemas.openxmlformats.org/officeDocument/2006/relationships/image" Target="../media/image18.jpeg"/><Relationship Id="rId30" Type="http://schemas.openxmlformats.org/officeDocument/2006/relationships/image" Target="../media/image21.jpeg"/><Relationship Id="rId35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esigns, Graphics, Example Slides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/>
          <a:lstStyle/>
          <a:p>
            <a:br>
              <a:rPr lang="en-US" dirty="0"/>
            </a:br>
            <a:r>
              <a:rPr lang="en-US" dirty="0"/>
              <a:t>CodeIgniter Workshop </a:t>
            </a:r>
          </a:p>
        </p:txBody>
      </p:sp>
    </p:spTree>
    <p:extLst>
      <p:ext uri="{BB962C8B-B14F-4D97-AF65-F5344CB8AC3E}">
        <p14:creationId xmlns:p14="http://schemas.microsoft.com/office/powerpoint/2010/main" val="1505919754"/>
      </p:ext>
    </p:extLst>
  </p:cSld>
  <p:clrMapOvr>
    <a:masterClrMapping/>
  </p:clrMapOvr>
  <p:transition spd="slow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" descr="Description: Zielscheib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grayscl/>
          </a:blip>
          <a:srcRect/>
          <a:stretch>
            <a:fillRect/>
          </a:stretch>
        </p:blipFill>
        <p:spPr bwMode="auto">
          <a:xfrm>
            <a:off x="3144000" y="1672431"/>
            <a:ext cx="9001125" cy="461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raphics</a:t>
            </a:r>
          </a:p>
        </p:txBody>
      </p:sp>
      <p:sp>
        <p:nvSpPr>
          <p:cNvPr id="68" name="Slide Number Placehold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FFF6660-965A-4D59-A4F1-0EDF90BDA97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5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000" y="1404000"/>
            <a:ext cx="3121875" cy="1881563"/>
          </a:xfrm>
          <a:prstGeom prst="rect">
            <a:avLst/>
          </a:prstGeom>
          <a:ln w="12700">
            <a:solidFill>
              <a:schemeClr val="accent6"/>
            </a:solidFill>
          </a:ln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000" y="3460508"/>
            <a:ext cx="2160000" cy="2160000"/>
          </a:xfrm>
          <a:prstGeom prst="rect">
            <a:avLst/>
          </a:prstGeom>
          <a:ln w="12700">
            <a:solidFill>
              <a:schemeClr val="accent6"/>
            </a:solidFill>
          </a:ln>
        </p:spPr>
      </p:pic>
      <p:pic>
        <p:nvPicPr>
          <p:cNvPr id="10" name="Grafik 4" descr="untitled.b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000" y="1568294"/>
            <a:ext cx="2160000" cy="1744855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http://sr.photos2.fotosearch.com/bthumb/CSP/CSP653/k653525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36000" y="3553994"/>
            <a:ext cx="2159000" cy="2159000"/>
          </a:xfrm>
          <a:prstGeom prst="rect">
            <a:avLst/>
          </a:prstGeom>
          <a:noFill/>
          <a:ln w="12700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7" descr="MPj04383950000[1]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268000" y="3545169"/>
            <a:ext cx="898633" cy="2165286"/>
          </a:xfrm>
          <a:prstGeom prst="rect">
            <a:avLst/>
          </a:prstGeom>
          <a:noFill/>
          <a:ln w="12700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065624576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8840" y="3689299"/>
            <a:ext cx="2651367" cy="258311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xxiome as SAP Partn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E97D1ED-A9A5-4FA6-8A2B-6829026A21AD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4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127" name="Group 126"/>
          <p:cNvGrpSpPr/>
          <p:nvPr/>
        </p:nvGrpSpPr>
        <p:grpSpPr>
          <a:xfrm>
            <a:off x="1920000" y="1413000"/>
            <a:ext cx="6264000" cy="3816000"/>
            <a:chOff x="396000" y="1125000"/>
            <a:chExt cx="6264000" cy="3816000"/>
          </a:xfrm>
        </p:grpSpPr>
        <p:sp>
          <p:nvSpPr>
            <p:cNvPr id="61" name="Rectangle 60"/>
            <p:cNvSpPr/>
            <p:nvPr/>
          </p:nvSpPr>
          <p:spPr>
            <a:xfrm>
              <a:off x="396000" y="1125000"/>
              <a:ext cx="6264000" cy="38160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5EAB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endParaRPr lang="de-DE" sz="1400">
                <a:solidFill>
                  <a:srgbClr val="1D1D1D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63" name="Picture 62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984" y="1839324"/>
              <a:ext cx="4993016" cy="26696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rgbClr val="005EAB"/>
                  </a:solidFill>
                </a14:hiddenLine>
              </a:ext>
            </a:extLst>
          </p:spPr>
        </p:pic>
      </p:grpSp>
      <p:sp>
        <p:nvSpPr>
          <p:cNvPr id="116" name="TextBox 115"/>
          <p:cNvSpPr txBox="1"/>
          <p:nvPr/>
        </p:nvSpPr>
        <p:spPr>
          <a:xfrm>
            <a:off x="2259372" y="3063324"/>
            <a:ext cx="576000" cy="216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400" b="1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USA</a:t>
            </a:r>
            <a:endParaRPr lang="de-DE" sz="1200" b="1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22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664" y="2709005"/>
            <a:ext cx="432000" cy="26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Freeform 125"/>
          <p:cNvSpPr/>
          <p:nvPr/>
        </p:nvSpPr>
        <p:spPr>
          <a:xfrm>
            <a:off x="2256789" y="2915803"/>
            <a:ext cx="874207" cy="163286"/>
          </a:xfrm>
          <a:custGeom>
            <a:avLst/>
            <a:gdLst>
              <a:gd name="connsiteX0" fmla="*/ 0 w 881743"/>
              <a:gd name="connsiteY0" fmla="*/ 163286 h 168310"/>
              <a:gd name="connsiteX1" fmla="*/ 537587 w 881743"/>
              <a:gd name="connsiteY1" fmla="*/ 168310 h 168310"/>
              <a:gd name="connsiteX2" fmla="*/ 881743 w 881743"/>
              <a:gd name="connsiteY2" fmla="*/ 0 h 168310"/>
              <a:gd name="connsiteX0" fmla="*/ 0 w 881743"/>
              <a:gd name="connsiteY0" fmla="*/ 163286 h 163286"/>
              <a:gd name="connsiteX1" fmla="*/ 479809 w 881743"/>
              <a:gd name="connsiteY1" fmla="*/ 163286 h 163286"/>
              <a:gd name="connsiteX2" fmla="*/ 881743 w 881743"/>
              <a:gd name="connsiteY2" fmla="*/ 0 h 163286"/>
              <a:gd name="connsiteX0" fmla="*/ 0 w 874207"/>
              <a:gd name="connsiteY0" fmla="*/ 163286 h 163286"/>
              <a:gd name="connsiteX1" fmla="*/ 472273 w 874207"/>
              <a:gd name="connsiteY1" fmla="*/ 163286 h 163286"/>
              <a:gd name="connsiteX2" fmla="*/ 874207 w 874207"/>
              <a:gd name="connsiteY2" fmla="*/ 0 h 16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4207" h="163286">
                <a:moveTo>
                  <a:pt x="0" y="163286"/>
                </a:moveTo>
                <a:lnTo>
                  <a:pt x="472273" y="163286"/>
                </a:lnTo>
                <a:lnTo>
                  <a:pt x="874207" y="0"/>
                </a:lnTo>
              </a:path>
            </a:pathLst>
          </a:custGeom>
          <a:ln w="9525">
            <a:solidFill>
              <a:schemeClr val="accent1"/>
            </a:solidFill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8" name="Freeform 127"/>
          <p:cNvSpPr/>
          <p:nvPr/>
        </p:nvSpPr>
        <p:spPr>
          <a:xfrm flipV="1">
            <a:off x="2326989" y="2055324"/>
            <a:ext cx="874207" cy="451286"/>
          </a:xfrm>
          <a:custGeom>
            <a:avLst/>
            <a:gdLst>
              <a:gd name="connsiteX0" fmla="*/ 0 w 881743"/>
              <a:gd name="connsiteY0" fmla="*/ 163286 h 168310"/>
              <a:gd name="connsiteX1" fmla="*/ 537587 w 881743"/>
              <a:gd name="connsiteY1" fmla="*/ 168310 h 168310"/>
              <a:gd name="connsiteX2" fmla="*/ 881743 w 881743"/>
              <a:gd name="connsiteY2" fmla="*/ 0 h 168310"/>
              <a:gd name="connsiteX0" fmla="*/ 0 w 881743"/>
              <a:gd name="connsiteY0" fmla="*/ 163286 h 163286"/>
              <a:gd name="connsiteX1" fmla="*/ 479809 w 881743"/>
              <a:gd name="connsiteY1" fmla="*/ 163286 h 163286"/>
              <a:gd name="connsiteX2" fmla="*/ 881743 w 881743"/>
              <a:gd name="connsiteY2" fmla="*/ 0 h 163286"/>
              <a:gd name="connsiteX0" fmla="*/ 0 w 874207"/>
              <a:gd name="connsiteY0" fmla="*/ 163286 h 163286"/>
              <a:gd name="connsiteX1" fmla="*/ 472273 w 874207"/>
              <a:gd name="connsiteY1" fmla="*/ 163286 h 163286"/>
              <a:gd name="connsiteX2" fmla="*/ 874207 w 874207"/>
              <a:gd name="connsiteY2" fmla="*/ 0 h 16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4207" h="163286">
                <a:moveTo>
                  <a:pt x="0" y="163286"/>
                </a:moveTo>
                <a:lnTo>
                  <a:pt x="472273" y="163286"/>
                </a:lnTo>
                <a:lnTo>
                  <a:pt x="874207" y="0"/>
                </a:lnTo>
              </a:path>
            </a:pathLst>
          </a:custGeom>
          <a:ln w="9525">
            <a:solidFill>
              <a:schemeClr val="accent1"/>
            </a:solidFill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9" name="TextBox 128"/>
          <p:cNvSpPr txBox="1"/>
          <p:nvPr/>
        </p:nvSpPr>
        <p:spPr>
          <a:xfrm>
            <a:off x="2326984" y="2055324"/>
            <a:ext cx="576000" cy="216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400" b="1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Canada</a:t>
            </a:r>
            <a:endParaRPr lang="de-DE" sz="1200" b="1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30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4" y="1701005"/>
            <a:ext cx="432000" cy="26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/>
          <p:cNvSpPr txBox="1"/>
          <p:nvPr/>
        </p:nvSpPr>
        <p:spPr>
          <a:xfrm>
            <a:off x="3838984" y="2847324"/>
            <a:ext cx="576000" cy="216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400" b="1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UK</a:t>
            </a:r>
            <a:endParaRPr lang="de-DE" sz="1200" b="1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32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984" y="2587030"/>
            <a:ext cx="432000" cy="26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Freeform 132"/>
          <p:cNvSpPr/>
          <p:nvPr/>
        </p:nvSpPr>
        <p:spPr>
          <a:xfrm>
            <a:off x="3828777" y="2663197"/>
            <a:ext cx="733750" cy="203417"/>
          </a:xfrm>
          <a:custGeom>
            <a:avLst/>
            <a:gdLst>
              <a:gd name="connsiteX0" fmla="*/ 0 w 881743"/>
              <a:gd name="connsiteY0" fmla="*/ 163286 h 168310"/>
              <a:gd name="connsiteX1" fmla="*/ 537587 w 881743"/>
              <a:gd name="connsiteY1" fmla="*/ 168310 h 168310"/>
              <a:gd name="connsiteX2" fmla="*/ 881743 w 881743"/>
              <a:gd name="connsiteY2" fmla="*/ 0 h 168310"/>
              <a:gd name="connsiteX0" fmla="*/ 0 w 881743"/>
              <a:gd name="connsiteY0" fmla="*/ 163286 h 163286"/>
              <a:gd name="connsiteX1" fmla="*/ 479809 w 881743"/>
              <a:gd name="connsiteY1" fmla="*/ 163286 h 163286"/>
              <a:gd name="connsiteX2" fmla="*/ 881743 w 881743"/>
              <a:gd name="connsiteY2" fmla="*/ 0 h 163286"/>
              <a:gd name="connsiteX0" fmla="*/ 0 w 874207"/>
              <a:gd name="connsiteY0" fmla="*/ 163286 h 163286"/>
              <a:gd name="connsiteX1" fmla="*/ 472273 w 874207"/>
              <a:gd name="connsiteY1" fmla="*/ 163286 h 163286"/>
              <a:gd name="connsiteX2" fmla="*/ 874207 w 874207"/>
              <a:gd name="connsiteY2" fmla="*/ 0 h 163286"/>
              <a:gd name="connsiteX0" fmla="*/ 0 w 733750"/>
              <a:gd name="connsiteY0" fmla="*/ 203417 h 203417"/>
              <a:gd name="connsiteX1" fmla="*/ 472273 w 733750"/>
              <a:gd name="connsiteY1" fmla="*/ 203417 h 203417"/>
              <a:gd name="connsiteX2" fmla="*/ 733750 w 733750"/>
              <a:gd name="connsiteY2" fmla="*/ 0 h 203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750" h="203417">
                <a:moveTo>
                  <a:pt x="0" y="203417"/>
                </a:moveTo>
                <a:lnTo>
                  <a:pt x="472273" y="203417"/>
                </a:lnTo>
                <a:lnTo>
                  <a:pt x="733750" y="0"/>
                </a:lnTo>
              </a:path>
            </a:pathLst>
          </a:custGeom>
          <a:ln w="9525">
            <a:solidFill>
              <a:schemeClr val="accent1"/>
            </a:solidFill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Freeform 133"/>
          <p:cNvSpPr/>
          <p:nvPr/>
        </p:nvSpPr>
        <p:spPr>
          <a:xfrm flipH="1" flipV="1">
            <a:off x="4731648" y="1942680"/>
            <a:ext cx="1014664" cy="719158"/>
          </a:xfrm>
          <a:custGeom>
            <a:avLst/>
            <a:gdLst>
              <a:gd name="connsiteX0" fmla="*/ 0 w 881743"/>
              <a:gd name="connsiteY0" fmla="*/ 163286 h 168310"/>
              <a:gd name="connsiteX1" fmla="*/ 537587 w 881743"/>
              <a:gd name="connsiteY1" fmla="*/ 168310 h 168310"/>
              <a:gd name="connsiteX2" fmla="*/ 881743 w 881743"/>
              <a:gd name="connsiteY2" fmla="*/ 0 h 168310"/>
              <a:gd name="connsiteX0" fmla="*/ 0 w 881743"/>
              <a:gd name="connsiteY0" fmla="*/ 163286 h 163286"/>
              <a:gd name="connsiteX1" fmla="*/ 479809 w 881743"/>
              <a:gd name="connsiteY1" fmla="*/ 163286 h 163286"/>
              <a:gd name="connsiteX2" fmla="*/ 881743 w 881743"/>
              <a:gd name="connsiteY2" fmla="*/ 0 h 163286"/>
              <a:gd name="connsiteX0" fmla="*/ 0 w 874207"/>
              <a:gd name="connsiteY0" fmla="*/ 163286 h 163286"/>
              <a:gd name="connsiteX1" fmla="*/ 472273 w 874207"/>
              <a:gd name="connsiteY1" fmla="*/ 163286 h 163286"/>
              <a:gd name="connsiteX2" fmla="*/ 874207 w 874207"/>
              <a:gd name="connsiteY2" fmla="*/ 0 h 163286"/>
              <a:gd name="connsiteX0" fmla="*/ 0 w 1043328"/>
              <a:gd name="connsiteY0" fmla="*/ 163286 h 163286"/>
              <a:gd name="connsiteX1" fmla="*/ 641394 w 1043328"/>
              <a:gd name="connsiteY1" fmla="*/ 163286 h 163286"/>
              <a:gd name="connsiteX2" fmla="*/ 1043328 w 1043328"/>
              <a:gd name="connsiteY2" fmla="*/ 0 h 163286"/>
              <a:gd name="connsiteX0" fmla="*/ 0 w 1014664"/>
              <a:gd name="connsiteY0" fmla="*/ 248450 h 248450"/>
              <a:gd name="connsiteX1" fmla="*/ 641394 w 1014664"/>
              <a:gd name="connsiteY1" fmla="*/ 248450 h 248450"/>
              <a:gd name="connsiteX2" fmla="*/ 1014664 w 1014664"/>
              <a:gd name="connsiteY2" fmla="*/ 0 h 24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4664" h="248450">
                <a:moveTo>
                  <a:pt x="0" y="248450"/>
                </a:moveTo>
                <a:lnTo>
                  <a:pt x="641394" y="248450"/>
                </a:lnTo>
                <a:lnTo>
                  <a:pt x="1014664" y="0"/>
                </a:lnTo>
              </a:path>
            </a:pathLst>
          </a:custGeom>
          <a:ln w="9525">
            <a:solidFill>
              <a:schemeClr val="accent1"/>
            </a:solidFill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5" name="TextBox 134"/>
          <p:cNvSpPr txBox="1"/>
          <p:nvPr/>
        </p:nvSpPr>
        <p:spPr>
          <a:xfrm>
            <a:off x="5134984" y="1911324"/>
            <a:ext cx="576000" cy="216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400" b="1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Germany</a:t>
            </a:r>
            <a:endParaRPr lang="de-DE" sz="1200" b="1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36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984" y="1651030"/>
            <a:ext cx="432000" cy="26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2345993" y="4149000"/>
            <a:ext cx="576000" cy="216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400" b="1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Mexico</a:t>
            </a:r>
            <a:endParaRPr lang="de-DE" sz="1200" b="1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38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993" y="3888706"/>
            <a:ext cx="432000" cy="26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9" name="Freeform 138"/>
          <p:cNvSpPr/>
          <p:nvPr/>
        </p:nvSpPr>
        <p:spPr>
          <a:xfrm>
            <a:off x="2345993" y="3298718"/>
            <a:ext cx="611448" cy="880615"/>
          </a:xfrm>
          <a:custGeom>
            <a:avLst/>
            <a:gdLst>
              <a:gd name="connsiteX0" fmla="*/ 0 w 881743"/>
              <a:gd name="connsiteY0" fmla="*/ 163286 h 168310"/>
              <a:gd name="connsiteX1" fmla="*/ 537587 w 881743"/>
              <a:gd name="connsiteY1" fmla="*/ 168310 h 168310"/>
              <a:gd name="connsiteX2" fmla="*/ 881743 w 881743"/>
              <a:gd name="connsiteY2" fmla="*/ 0 h 168310"/>
              <a:gd name="connsiteX0" fmla="*/ 0 w 881743"/>
              <a:gd name="connsiteY0" fmla="*/ 163286 h 163286"/>
              <a:gd name="connsiteX1" fmla="*/ 479809 w 881743"/>
              <a:gd name="connsiteY1" fmla="*/ 163286 h 163286"/>
              <a:gd name="connsiteX2" fmla="*/ 881743 w 881743"/>
              <a:gd name="connsiteY2" fmla="*/ 0 h 163286"/>
              <a:gd name="connsiteX0" fmla="*/ 0 w 874207"/>
              <a:gd name="connsiteY0" fmla="*/ 163286 h 163286"/>
              <a:gd name="connsiteX1" fmla="*/ 472273 w 874207"/>
              <a:gd name="connsiteY1" fmla="*/ 163286 h 163286"/>
              <a:gd name="connsiteX2" fmla="*/ 874207 w 874207"/>
              <a:gd name="connsiteY2" fmla="*/ 0 h 163286"/>
              <a:gd name="connsiteX0" fmla="*/ 0 w 1176379"/>
              <a:gd name="connsiteY0" fmla="*/ 357727 h 357727"/>
              <a:gd name="connsiteX1" fmla="*/ 472273 w 1176379"/>
              <a:gd name="connsiteY1" fmla="*/ 357727 h 357727"/>
              <a:gd name="connsiteX2" fmla="*/ 1176379 w 1176379"/>
              <a:gd name="connsiteY2" fmla="*/ 0 h 357727"/>
              <a:gd name="connsiteX0" fmla="*/ 0 w 1176379"/>
              <a:gd name="connsiteY0" fmla="*/ 357727 h 357727"/>
              <a:gd name="connsiteX1" fmla="*/ 947866 w 1176379"/>
              <a:gd name="connsiteY1" fmla="*/ 357727 h 357727"/>
              <a:gd name="connsiteX2" fmla="*/ 1176379 w 1176379"/>
              <a:gd name="connsiteY2" fmla="*/ 0 h 357727"/>
              <a:gd name="connsiteX0" fmla="*/ 0 w 1368193"/>
              <a:gd name="connsiteY0" fmla="*/ 378747 h 378747"/>
              <a:gd name="connsiteX1" fmla="*/ 947866 w 1368193"/>
              <a:gd name="connsiteY1" fmla="*/ 378747 h 378747"/>
              <a:gd name="connsiteX2" fmla="*/ 1368193 w 1368193"/>
              <a:gd name="connsiteY2" fmla="*/ 0 h 378747"/>
              <a:gd name="connsiteX0" fmla="*/ 0 w 1368193"/>
              <a:gd name="connsiteY0" fmla="*/ 378747 h 381374"/>
              <a:gd name="connsiteX1" fmla="*/ 511687 w 1368193"/>
              <a:gd name="connsiteY1" fmla="*/ 381374 h 381374"/>
              <a:gd name="connsiteX2" fmla="*/ 1368193 w 1368193"/>
              <a:gd name="connsiteY2" fmla="*/ 0 h 381374"/>
              <a:gd name="connsiteX0" fmla="*/ 0 w 798007"/>
              <a:gd name="connsiteY0" fmla="*/ 636250 h 638877"/>
              <a:gd name="connsiteX1" fmla="*/ 511687 w 798007"/>
              <a:gd name="connsiteY1" fmla="*/ 638877 h 638877"/>
              <a:gd name="connsiteX2" fmla="*/ 798007 w 798007"/>
              <a:gd name="connsiteY2" fmla="*/ 0 h 638877"/>
              <a:gd name="connsiteX0" fmla="*/ 0 w 611448"/>
              <a:gd name="connsiteY0" fmla="*/ 877988 h 880615"/>
              <a:gd name="connsiteX1" fmla="*/ 511687 w 611448"/>
              <a:gd name="connsiteY1" fmla="*/ 880615 h 880615"/>
              <a:gd name="connsiteX2" fmla="*/ 611448 w 611448"/>
              <a:gd name="connsiteY2" fmla="*/ 0 h 88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1448" h="880615">
                <a:moveTo>
                  <a:pt x="0" y="877988"/>
                </a:moveTo>
                <a:lnTo>
                  <a:pt x="511687" y="880615"/>
                </a:lnTo>
                <a:lnTo>
                  <a:pt x="611448" y="0"/>
                </a:lnTo>
              </a:path>
            </a:pathLst>
          </a:custGeom>
          <a:ln w="9525">
            <a:solidFill>
              <a:schemeClr val="accent1"/>
            </a:solidFill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0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000" y="5370256"/>
            <a:ext cx="1080000" cy="650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TextBox 140"/>
          <p:cNvSpPr txBox="1"/>
          <p:nvPr/>
        </p:nvSpPr>
        <p:spPr>
          <a:xfrm>
            <a:off x="3144000" y="5442256"/>
            <a:ext cx="576000" cy="576000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BCE1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b">
            <a:noAutofit/>
          </a:bodyPr>
          <a:lstStyle/>
          <a:p>
            <a:pPr>
              <a:spcBef>
                <a:spcPct val="0"/>
              </a:spcBef>
            </a:pPr>
            <a:r>
              <a:rPr lang="de-DE" b="1" spc="-50" dirty="0">
                <a:solidFill>
                  <a:srgbClr val="002663"/>
                </a:solidFill>
                <a:ea typeface="+mj-ea"/>
                <a:cs typeface="+mj-cs"/>
              </a:rPr>
              <a:t>SAP Service Partner</a:t>
            </a:r>
          </a:p>
          <a:p>
            <a:pPr>
              <a:spcBef>
                <a:spcPct val="0"/>
              </a:spcBef>
            </a:pPr>
            <a:r>
              <a:rPr lang="de-DE" sz="1000" spc="-50" dirty="0">
                <a:solidFill>
                  <a:srgbClr val="002663"/>
                </a:solidFill>
                <a:ea typeface="+mj-ea"/>
                <a:cs typeface="+mj-cs"/>
              </a:rPr>
              <a:t>Value </a:t>
            </a:r>
            <a:r>
              <a:rPr lang="de-DE" sz="1000" spc="-50" dirty="0" err="1">
                <a:solidFill>
                  <a:srgbClr val="002663"/>
                </a:solidFill>
                <a:ea typeface="+mj-ea"/>
                <a:cs typeface="+mj-cs"/>
              </a:rPr>
              <a:t>Added</a:t>
            </a:r>
            <a:r>
              <a:rPr lang="de-DE" sz="1000" spc="-50" dirty="0">
                <a:solidFill>
                  <a:srgbClr val="002663"/>
                </a:solidFill>
                <a:ea typeface="+mj-ea"/>
                <a:cs typeface="+mj-cs"/>
              </a:rPr>
              <a:t> Reseller (USA &amp; Canada)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4008000" y="4005000"/>
            <a:ext cx="576000" cy="216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200" b="1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Colombia</a:t>
            </a:r>
          </a:p>
        </p:txBody>
      </p:sp>
      <p:sp>
        <p:nvSpPr>
          <p:cNvPr id="144" name="Freeform 143"/>
          <p:cNvSpPr/>
          <p:nvPr/>
        </p:nvSpPr>
        <p:spPr>
          <a:xfrm flipH="1">
            <a:off x="3346670" y="3634138"/>
            <a:ext cx="1381330" cy="373490"/>
          </a:xfrm>
          <a:custGeom>
            <a:avLst/>
            <a:gdLst>
              <a:gd name="connsiteX0" fmla="*/ 0 w 881743"/>
              <a:gd name="connsiteY0" fmla="*/ 163286 h 168310"/>
              <a:gd name="connsiteX1" fmla="*/ 537587 w 881743"/>
              <a:gd name="connsiteY1" fmla="*/ 168310 h 168310"/>
              <a:gd name="connsiteX2" fmla="*/ 881743 w 881743"/>
              <a:gd name="connsiteY2" fmla="*/ 0 h 168310"/>
              <a:gd name="connsiteX0" fmla="*/ 0 w 881743"/>
              <a:gd name="connsiteY0" fmla="*/ 163286 h 163286"/>
              <a:gd name="connsiteX1" fmla="*/ 479809 w 881743"/>
              <a:gd name="connsiteY1" fmla="*/ 163286 h 163286"/>
              <a:gd name="connsiteX2" fmla="*/ 881743 w 881743"/>
              <a:gd name="connsiteY2" fmla="*/ 0 h 163286"/>
              <a:gd name="connsiteX0" fmla="*/ 0 w 874207"/>
              <a:gd name="connsiteY0" fmla="*/ 163286 h 163286"/>
              <a:gd name="connsiteX1" fmla="*/ 472273 w 874207"/>
              <a:gd name="connsiteY1" fmla="*/ 163286 h 163286"/>
              <a:gd name="connsiteX2" fmla="*/ 874207 w 874207"/>
              <a:gd name="connsiteY2" fmla="*/ 0 h 163286"/>
              <a:gd name="connsiteX0" fmla="*/ 0 w 1176379"/>
              <a:gd name="connsiteY0" fmla="*/ 357727 h 357727"/>
              <a:gd name="connsiteX1" fmla="*/ 472273 w 1176379"/>
              <a:gd name="connsiteY1" fmla="*/ 357727 h 357727"/>
              <a:gd name="connsiteX2" fmla="*/ 1176379 w 1176379"/>
              <a:gd name="connsiteY2" fmla="*/ 0 h 357727"/>
              <a:gd name="connsiteX0" fmla="*/ 0 w 1176379"/>
              <a:gd name="connsiteY0" fmla="*/ 357727 h 357727"/>
              <a:gd name="connsiteX1" fmla="*/ 947866 w 1176379"/>
              <a:gd name="connsiteY1" fmla="*/ 357727 h 357727"/>
              <a:gd name="connsiteX2" fmla="*/ 1176379 w 1176379"/>
              <a:gd name="connsiteY2" fmla="*/ 0 h 357727"/>
              <a:gd name="connsiteX0" fmla="*/ 0 w 1368193"/>
              <a:gd name="connsiteY0" fmla="*/ 378747 h 378747"/>
              <a:gd name="connsiteX1" fmla="*/ 947866 w 1368193"/>
              <a:gd name="connsiteY1" fmla="*/ 378747 h 378747"/>
              <a:gd name="connsiteX2" fmla="*/ 1368193 w 1368193"/>
              <a:gd name="connsiteY2" fmla="*/ 0 h 378747"/>
              <a:gd name="connsiteX0" fmla="*/ 0 w 1368193"/>
              <a:gd name="connsiteY0" fmla="*/ 378747 h 381374"/>
              <a:gd name="connsiteX1" fmla="*/ 511687 w 1368193"/>
              <a:gd name="connsiteY1" fmla="*/ 381374 h 381374"/>
              <a:gd name="connsiteX2" fmla="*/ 1368193 w 1368193"/>
              <a:gd name="connsiteY2" fmla="*/ 0 h 381374"/>
              <a:gd name="connsiteX0" fmla="*/ 0 w 798007"/>
              <a:gd name="connsiteY0" fmla="*/ 636250 h 638877"/>
              <a:gd name="connsiteX1" fmla="*/ 511687 w 798007"/>
              <a:gd name="connsiteY1" fmla="*/ 638877 h 638877"/>
              <a:gd name="connsiteX2" fmla="*/ 798007 w 798007"/>
              <a:gd name="connsiteY2" fmla="*/ 0 h 638877"/>
              <a:gd name="connsiteX0" fmla="*/ 0 w 611448"/>
              <a:gd name="connsiteY0" fmla="*/ 877988 h 880615"/>
              <a:gd name="connsiteX1" fmla="*/ 511687 w 611448"/>
              <a:gd name="connsiteY1" fmla="*/ 880615 h 880615"/>
              <a:gd name="connsiteX2" fmla="*/ 611448 w 611448"/>
              <a:gd name="connsiteY2" fmla="*/ 0 h 880615"/>
              <a:gd name="connsiteX0" fmla="*/ 0 w 737660"/>
              <a:gd name="connsiteY0" fmla="*/ 877988 h 883242"/>
              <a:gd name="connsiteX1" fmla="*/ 737660 w 737660"/>
              <a:gd name="connsiteY1" fmla="*/ 883242 h 883242"/>
              <a:gd name="connsiteX2" fmla="*/ 611448 w 737660"/>
              <a:gd name="connsiteY2" fmla="*/ 0 h 883242"/>
              <a:gd name="connsiteX0" fmla="*/ 0 w 1381330"/>
              <a:gd name="connsiteY0" fmla="*/ 368236 h 373490"/>
              <a:gd name="connsiteX1" fmla="*/ 737660 w 1381330"/>
              <a:gd name="connsiteY1" fmla="*/ 373490 h 373490"/>
              <a:gd name="connsiteX2" fmla="*/ 1381330 w 1381330"/>
              <a:gd name="connsiteY2" fmla="*/ 0 h 373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1330" h="373490">
                <a:moveTo>
                  <a:pt x="0" y="368236"/>
                </a:moveTo>
                <a:lnTo>
                  <a:pt x="737660" y="373490"/>
                </a:lnTo>
                <a:lnTo>
                  <a:pt x="1381330" y="0"/>
                </a:lnTo>
              </a:path>
            </a:pathLst>
          </a:custGeom>
          <a:ln w="9525">
            <a:solidFill>
              <a:schemeClr val="accent1"/>
            </a:solidFill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5" name="Picture 2" descr="http://www.beone-group.com/files/beone/partner-logo/sap_partner_R_tm_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000" y="3717005"/>
            <a:ext cx="432000" cy="26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TextBox 147"/>
          <p:cNvSpPr txBox="1"/>
          <p:nvPr/>
        </p:nvSpPr>
        <p:spPr>
          <a:xfrm>
            <a:off x="2208000" y="2997000"/>
            <a:ext cx="576000" cy="7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500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VALUE ADDED RESELLER</a:t>
            </a:r>
            <a:endParaRPr lang="de-DE" sz="400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2280000" y="1975248"/>
            <a:ext cx="576000" cy="7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500" spc="-5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VALUE ADDED RESELLER</a:t>
            </a:r>
            <a:endParaRPr lang="de-DE" sz="400" spc="-50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6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8484791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7"/>
          <p:cNvSpPr txBox="1">
            <a:spLocks/>
          </p:cNvSpPr>
          <p:nvPr/>
        </p:nvSpPr>
        <p:spPr>
          <a:xfrm>
            <a:off x="2208000" y="1772816"/>
            <a:ext cx="7776000" cy="360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Objectives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7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656000" y="2277000"/>
            <a:ext cx="5040000" cy="360000"/>
            <a:chOff x="3132000" y="2277000"/>
            <a:chExt cx="5040000" cy="360000"/>
          </a:xfrm>
        </p:grpSpPr>
        <p:sp>
          <p:nvSpPr>
            <p:cNvPr id="24" name="Text Placeholder 7"/>
            <p:cNvSpPr txBox="1">
              <a:spLocks/>
            </p:cNvSpPr>
            <p:nvPr/>
          </p:nvSpPr>
          <p:spPr>
            <a:xfrm>
              <a:off x="3132000" y="2277000"/>
              <a:ext cx="5040000" cy="360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Workshop </a:t>
              </a:r>
              <a:r>
                <a:rPr lang="de-DE" dirty="0" err="1"/>
                <a:t>objectives</a:t>
              </a:r>
              <a:endParaRPr lang="de-DE" dirty="0"/>
            </a:p>
            <a:p>
              <a:endParaRPr lang="de-DE" dirty="0"/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3132000" y="263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56" name="Picture 8" descr="http://sr.photos2.fotosearch.com/bthumb/CSP/CSP653/k653525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80000" y="3213000"/>
            <a:ext cx="2159000" cy="215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/>
          <p:cNvGrpSpPr/>
          <p:nvPr/>
        </p:nvGrpSpPr>
        <p:grpSpPr>
          <a:xfrm>
            <a:off x="4656000" y="3357005"/>
            <a:ext cx="5040000" cy="348999"/>
            <a:chOff x="3067477" y="3357000"/>
            <a:chExt cx="5040000" cy="348999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Objective</a:t>
              </a:r>
              <a:r>
                <a:rPr lang="de-DE" dirty="0"/>
                <a:t> 2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656000" y="2637005"/>
            <a:ext cx="5040000" cy="348999"/>
            <a:chOff x="3067477" y="3357000"/>
            <a:chExt cx="5040000" cy="348999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Objective</a:t>
              </a:r>
              <a:r>
                <a:rPr lang="de-DE" dirty="0"/>
                <a:t> 1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656000" y="4077005"/>
            <a:ext cx="5040000" cy="348999"/>
            <a:chOff x="3067477" y="3357000"/>
            <a:chExt cx="5040000" cy="348999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Objective</a:t>
              </a:r>
              <a:r>
                <a:rPr lang="de-DE" dirty="0"/>
                <a:t> 3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656000" y="4797005"/>
            <a:ext cx="5040000" cy="348999"/>
            <a:chOff x="3067477" y="3357000"/>
            <a:chExt cx="5040000" cy="348999"/>
          </a:xfrm>
        </p:grpSpPr>
        <p:cxnSp>
          <p:nvCxnSpPr>
            <p:cNvPr id="38" name="Straight Connector 37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Objective</a:t>
              </a:r>
              <a:r>
                <a:rPr lang="de-DE" dirty="0"/>
                <a:t> 4</a:t>
              </a:r>
            </a:p>
          </p:txBody>
        </p:sp>
      </p:grpSp>
      <p:sp>
        <p:nvSpPr>
          <p:cNvPr id="29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370316679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25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.</a:t>
            </a:r>
            <a:r>
              <a:rPr lang="de-DE" dirty="0"/>
              <a:t> </a:t>
            </a:r>
          </a:p>
          <a:p>
            <a:pPr lvl="3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3"/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imple Text Based Slide</a:t>
            </a:r>
          </a:p>
        </p:txBody>
      </p:sp>
      <p:sp>
        <p:nvSpPr>
          <p:cNvPr id="9" name="Text Placeholder 7"/>
          <p:cNvSpPr txBox="1">
            <a:spLocks/>
          </p:cNvSpPr>
          <p:nvPr/>
        </p:nvSpPr>
        <p:spPr>
          <a:xfrm>
            <a:off x="2208000" y="4149000"/>
            <a:ext cx="7704000" cy="1440000"/>
          </a:xfrm>
          <a:prstGeom prst="rect">
            <a:avLst/>
          </a:prstGeom>
          <a:solidFill>
            <a:schemeClr val="accent5"/>
          </a:solidFill>
          <a:ln w="9525">
            <a:noFill/>
            <a:prstDash val="solid"/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>
                <a:solidFill>
                  <a:srgbClr val="000000"/>
                </a:solidFill>
                <a:latin typeface="Arial Narrow" panose="020B0606020202030204" pitchFamily="34" charset="0"/>
              </a:rPr>
              <a:t>Tip</a:t>
            </a:r>
            <a:endParaRPr lang="de-DE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lvl="3"/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with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ALT-SHFT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nd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CURSOR RIGHT/LEFT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you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can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indent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right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/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left</a:t>
            </a:r>
            <a:endParaRPr lang="de-DE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lvl="3"/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with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ALT-SHFT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nd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CURSOR UP/DOWN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you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easily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can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move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text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/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paragraphs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within</a:t>
            </a:r>
            <a:r>
              <a:rPr lang="de-DE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a </a:t>
            </a:r>
            <a:r>
              <a:rPr lang="de-DE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list</a:t>
            </a:r>
            <a:endParaRPr lang="de-DE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121876810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 l="13721" t="5562" r="1927"/>
          <a:stretch>
            <a:fillRect/>
          </a:stretch>
        </p:blipFill>
        <p:spPr bwMode="gray">
          <a:xfrm>
            <a:off x="7052560" y="2894770"/>
            <a:ext cx="3443287" cy="319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 Placeholder 7"/>
          <p:cNvSpPr txBox="1">
            <a:spLocks/>
          </p:cNvSpPr>
          <p:nvPr/>
        </p:nvSpPr>
        <p:spPr>
          <a:xfrm>
            <a:off x="1747842" y="1413000"/>
            <a:ext cx="5976000" cy="331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chievement of Objectiv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3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7" name="Text Placeholder 7"/>
          <p:cNvSpPr txBox="1">
            <a:spLocks/>
          </p:cNvSpPr>
          <p:nvPr/>
        </p:nvSpPr>
        <p:spPr>
          <a:xfrm>
            <a:off x="2035842" y="1701000"/>
            <a:ext cx="5400000" cy="57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Objective</a:t>
            </a:r>
            <a:r>
              <a:rPr lang="de-DE" dirty="0"/>
              <a:t> 1</a:t>
            </a:r>
          </a:p>
        </p:txBody>
      </p:sp>
      <p:sp>
        <p:nvSpPr>
          <p:cNvPr id="29" name="Text Placeholder 7"/>
          <p:cNvSpPr txBox="1">
            <a:spLocks/>
          </p:cNvSpPr>
          <p:nvPr/>
        </p:nvSpPr>
        <p:spPr>
          <a:xfrm>
            <a:off x="2035842" y="2421000"/>
            <a:ext cx="5400000" cy="57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Objective</a:t>
            </a:r>
            <a:r>
              <a:rPr lang="de-DE" dirty="0"/>
              <a:t> 2</a:t>
            </a:r>
          </a:p>
        </p:txBody>
      </p:sp>
      <p:sp>
        <p:nvSpPr>
          <p:cNvPr id="35" name="Text Placeholder 7"/>
          <p:cNvSpPr txBox="1">
            <a:spLocks/>
          </p:cNvSpPr>
          <p:nvPr/>
        </p:nvSpPr>
        <p:spPr>
          <a:xfrm>
            <a:off x="2035842" y="3141000"/>
            <a:ext cx="5400000" cy="57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Objective</a:t>
            </a:r>
            <a:r>
              <a:rPr lang="de-DE" dirty="0"/>
              <a:t> 3</a:t>
            </a:r>
          </a:p>
        </p:txBody>
      </p:sp>
      <p:sp>
        <p:nvSpPr>
          <p:cNvPr id="36" name="Text Placeholder 7"/>
          <p:cNvSpPr txBox="1">
            <a:spLocks/>
          </p:cNvSpPr>
          <p:nvPr/>
        </p:nvSpPr>
        <p:spPr>
          <a:xfrm>
            <a:off x="2035842" y="3861000"/>
            <a:ext cx="5400000" cy="57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Objective</a:t>
            </a:r>
            <a:r>
              <a:rPr lang="de-DE" dirty="0"/>
              <a:t> 4</a:t>
            </a:r>
          </a:p>
        </p:txBody>
      </p:sp>
      <p:sp>
        <p:nvSpPr>
          <p:cNvPr id="19" name="Text Placeholder 7"/>
          <p:cNvSpPr txBox="1">
            <a:spLocks/>
          </p:cNvSpPr>
          <p:nvPr/>
        </p:nvSpPr>
        <p:spPr>
          <a:xfrm>
            <a:off x="7003842" y="1845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20" name="Text Placeholder 7"/>
          <p:cNvSpPr txBox="1">
            <a:spLocks/>
          </p:cNvSpPr>
          <p:nvPr/>
        </p:nvSpPr>
        <p:spPr>
          <a:xfrm>
            <a:off x="7003842" y="2565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21" name="Text Placeholder 7"/>
          <p:cNvSpPr txBox="1">
            <a:spLocks/>
          </p:cNvSpPr>
          <p:nvPr/>
        </p:nvSpPr>
        <p:spPr>
          <a:xfrm>
            <a:off x="7003842" y="3285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dirty="0">
                <a:solidFill>
                  <a:srgbClr val="C00000"/>
                </a:solidFill>
                <a:sym typeface="Wingdings" panose="05000000000000000000" pitchFamily="2" charset="2"/>
              </a:rPr>
              <a:t></a:t>
            </a:r>
            <a:endParaRPr lang="de-DE" sz="4400" dirty="0">
              <a:solidFill>
                <a:srgbClr val="C00000"/>
              </a:solidFill>
            </a:endParaRPr>
          </a:p>
        </p:txBody>
      </p:sp>
      <p:sp>
        <p:nvSpPr>
          <p:cNvPr id="22" name="Text Placeholder 7"/>
          <p:cNvSpPr txBox="1">
            <a:spLocks/>
          </p:cNvSpPr>
          <p:nvPr/>
        </p:nvSpPr>
        <p:spPr>
          <a:xfrm>
            <a:off x="7003842" y="4005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4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2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169731207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7"/>
          <p:cNvSpPr txBox="1">
            <a:spLocks/>
          </p:cNvSpPr>
          <p:nvPr/>
        </p:nvSpPr>
        <p:spPr>
          <a:xfrm>
            <a:off x="2143477" y="1989004"/>
            <a:ext cx="7776000" cy="360000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Next Steps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7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91477" y="2277000"/>
            <a:ext cx="5040000" cy="360000"/>
            <a:chOff x="3067477" y="2277000"/>
            <a:chExt cx="5040000" cy="360000"/>
          </a:xfrm>
        </p:grpSpPr>
        <p:sp>
          <p:nvSpPr>
            <p:cNvPr id="24" name="Text Placeholder 7"/>
            <p:cNvSpPr txBox="1">
              <a:spLocks/>
            </p:cNvSpPr>
            <p:nvPr/>
          </p:nvSpPr>
          <p:spPr>
            <a:xfrm>
              <a:off x="3067477" y="2277000"/>
              <a:ext cx="5040000" cy="360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Next </a:t>
              </a:r>
              <a:r>
                <a:rPr lang="de-DE" dirty="0" err="1"/>
                <a:t>Steps</a:t>
              </a:r>
              <a:endParaRPr lang="de-DE" dirty="0"/>
            </a:p>
            <a:p>
              <a:endParaRPr lang="de-DE" dirty="0"/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3067477" y="263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>
            <a:off x="4584000" y="3357005"/>
            <a:ext cx="5040000" cy="348999"/>
            <a:chOff x="3067477" y="3357000"/>
            <a:chExt cx="5040000" cy="348999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2</a:t>
              </a:r>
            </a:p>
          </p:txBody>
        </p:sp>
      </p:grpSp>
      <p:pic>
        <p:nvPicPr>
          <p:cNvPr id="17" name="Picture 16" descr="Steine"/>
          <p:cNvPicPr>
            <a:picLocks noChangeArrowheads="1"/>
          </p:cNvPicPr>
          <p:nvPr>
            <p:custDataLst>
              <p:tags r:id="rId1"/>
            </p:custDataLst>
          </p:nvPr>
        </p:nvPicPr>
        <p:blipFill rotWithShape="1">
          <a:blip r:embed="rId3" cstate="print"/>
          <a:stretch/>
        </p:blipFill>
        <p:spPr bwMode="gray">
          <a:xfrm>
            <a:off x="2359477" y="2277000"/>
            <a:ext cx="1944000" cy="316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/>
          <p:cNvGrpSpPr/>
          <p:nvPr/>
        </p:nvGrpSpPr>
        <p:grpSpPr>
          <a:xfrm>
            <a:off x="4584000" y="2637005"/>
            <a:ext cx="5040000" cy="348999"/>
            <a:chOff x="3067477" y="3357000"/>
            <a:chExt cx="5040000" cy="348999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1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584000" y="4077005"/>
            <a:ext cx="5040000" cy="348999"/>
            <a:chOff x="3067477" y="3357000"/>
            <a:chExt cx="5040000" cy="348999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3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584000" y="4797005"/>
            <a:ext cx="5040000" cy="348999"/>
            <a:chOff x="3067477" y="3357000"/>
            <a:chExt cx="5040000" cy="348999"/>
          </a:xfrm>
        </p:grpSpPr>
        <p:cxnSp>
          <p:nvCxnSpPr>
            <p:cNvPr id="38" name="Straight Connector 37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4</a:t>
              </a:r>
            </a:p>
          </p:txBody>
        </p:sp>
      </p:grpSp>
      <p:sp>
        <p:nvSpPr>
          <p:cNvPr id="32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094322408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7"/>
          <p:cNvSpPr txBox="1">
            <a:spLocks/>
          </p:cNvSpPr>
          <p:nvPr/>
        </p:nvSpPr>
        <p:spPr>
          <a:xfrm>
            <a:off x="2143477" y="1989004"/>
            <a:ext cx="7776000" cy="360000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Next Steps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4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91477" y="2277000"/>
            <a:ext cx="5040000" cy="360000"/>
            <a:chOff x="3067477" y="2277000"/>
            <a:chExt cx="5040000" cy="360000"/>
          </a:xfrm>
        </p:grpSpPr>
        <p:sp>
          <p:nvSpPr>
            <p:cNvPr id="24" name="Text Placeholder 7"/>
            <p:cNvSpPr txBox="1">
              <a:spLocks/>
            </p:cNvSpPr>
            <p:nvPr/>
          </p:nvSpPr>
          <p:spPr>
            <a:xfrm>
              <a:off x="3067477" y="2277000"/>
              <a:ext cx="5040000" cy="360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Next </a:t>
              </a:r>
              <a:r>
                <a:rPr lang="de-DE" dirty="0" err="1"/>
                <a:t>Steps</a:t>
              </a:r>
              <a:endParaRPr lang="de-DE" dirty="0"/>
            </a:p>
            <a:p>
              <a:endParaRPr lang="de-DE" dirty="0"/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3067477" y="263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>
            <a:off x="4584000" y="3357005"/>
            <a:ext cx="5040000" cy="348999"/>
            <a:chOff x="3067477" y="3357000"/>
            <a:chExt cx="5040000" cy="348999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2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4584000" y="2637005"/>
            <a:ext cx="5040000" cy="348999"/>
            <a:chOff x="3067477" y="3357000"/>
            <a:chExt cx="5040000" cy="348999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1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584000" y="4077005"/>
            <a:ext cx="5040000" cy="348999"/>
            <a:chOff x="3067477" y="3357000"/>
            <a:chExt cx="5040000" cy="348999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3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584000" y="4797005"/>
            <a:ext cx="5040000" cy="348999"/>
            <a:chOff x="3067477" y="3357000"/>
            <a:chExt cx="5040000" cy="348999"/>
          </a:xfrm>
        </p:grpSpPr>
        <p:cxnSp>
          <p:nvCxnSpPr>
            <p:cNvPr id="38" name="Straight Connector 37"/>
            <p:cNvCxnSpPr/>
            <p:nvPr/>
          </p:nvCxnSpPr>
          <p:spPr>
            <a:xfrm>
              <a:off x="3067477" y="3357000"/>
              <a:ext cx="504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 Placeholder 7"/>
            <p:cNvSpPr txBox="1">
              <a:spLocks/>
            </p:cNvSpPr>
            <p:nvPr/>
          </p:nvSpPr>
          <p:spPr>
            <a:xfrm>
              <a:off x="3067477" y="3429000"/>
              <a:ext cx="5040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 err="1"/>
                <a:t>Step</a:t>
              </a:r>
              <a:r>
                <a:rPr lang="de-DE" dirty="0"/>
                <a:t> 4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352000" y="2205224"/>
            <a:ext cx="1800000" cy="3240000"/>
            <a:chOff x="828000" y="2205000"/>
            <a:chExt cx="1800000" cy="3240000"/>
          </a:xfrm>
        </p:grpSpPr>
        <p:sp>
          <p:nvSpPr>
            <p:cNvPr id="30" name="Text Placeholder 7"/>
            <p:cNvSpPr txBox="1">
              <a:spLocks/>
            </p:cNvSpPr>
            <p:nvPr/>
          </p:nvSpPr>
          <p:spPr>
            <a:xfrm>
              <a:off x="828000" y="2205000"/>
              <a:ext cx="1800000" cy="3240000"/>
            </a:xfrm>
            <a:prstGeom prst="rect">
              <a:avLst/>
            </a:prstGeom>
            <a:solidFill>
              <a:srgbClr val="D2D8E4"/>
            </a:solidFill>
            <a:ln w="12700"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6"/>
                  </a:solidFill>
                </a14:hiddenLine>
              </a:ext>
            </a:extLst>
          </p:spPr>
          <p:txBody>
            <a:bodyPr wrap="square" lIns="0" tIns="0" rIns="0" bIns="0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endParaRPr lang="de-DE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1038120" y="2421000"/>
              <a:ext cx="1368000" cy="2808000"/>
              <a:chOff x="1764000" y="2133000"/>
              <a:chExt cx="1368000" cy="2808000"/>
            </a:xfrm>
          </p:grpSpPr>
          <p:pic>
            <p:nvPicPr>
              <p:cNvPr id="35" name="Picture 2" descr="Right shoe footprint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779" r="27775"/>
              <a:stretch/>
            </p:blipFill>
            <p:spPr bwMode="auto">
              <a:xfrm>
                <a:off x="2844000" y="4293000"/>
                <a:ext cx="288000" cy="6480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335182"/>
                    </a:solidFill>
                  </a14:hiddenFill>
                </a:ext>
              </a:extLst>
            </p:spPr>
          </p:pic>
          <p:pic>
            <p:nvPicPr>
              <p:cNvPr id="36" name="Picture 2" descr="Right shoe footprint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779" r="27775"/>
              <a:stretch/>
            </p:blipFill>
            <p:spPr bwMode="auto">
              <a:xfrm>
                <a:off x="2772000" y="3141000"/>
                <a:ext cx="288000" cy="6480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120000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335182"/>
                    </a:solidFill>
                  </a14:hiddenFill>
                </a:ext>
              </a:extLst>
            </p:spPr>
          </p:pic>
          <p:pic>
            <p:nvPicPr>
              <p:cNvPr id="40" name="Picture 2" descr="Right shoe footprint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779" r="27775"/>
              <a:stretch/>
            </p:blipFill>
            <p:spPr bwMode="auto">
              <a:xfrm flipH="1">
                <a:off x="2484000" y="3789000"/>
                <a:ext cx="288000" cy="6480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60000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335182"/>
                    </a:solidFill>
                  </a14:hiddenFill>
                </a:ext>
              </a:extLst>
            </p:spPr>
          </p:pic>
          <p:pic>
            <p:nvPicPr>
              <p:cNvPr id="41" name="Picture 2" descr="Right shoe footprint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779" r="27775"/>
              <a:stretch/>
            </p:blipFill>
            <p:spPr bwMode="auto">
              <a:xfrm flipH="1">
                <a:off x="2124000" y="2853000"/>
                <a:ext cx="288000" cy="6480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120000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335182"/>
                    </a:solidFill>
                  </a14:hiddenFill>
                </a:ext>
              </a:extLst>
            </p:spPr>
          </p:pic>
          <p:pic>
            <p:nvPicPr>
              <p:cNvPr id="42" name="Picture 2" descr="Right shoe footprint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779" r="27775"/>
              <a:stretch/>
            </p:blipFill>
            <p:spPr bwMode="auto">
              <a:xfrm flipH="1">
                <a:off x="1764000" y="2133000"/>
                <a:ext cx="288000" cy="6480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180000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335182"/>
                    </a:solidFill>
                  </a14:hiddenFill>
                </a:ext>
              </a:extLst>
            </p:spPr>
          </p:pic>
          <p:pic>
            <p:nvPicPr>
              <p:cNvPr id="43" name="Picture 2" descr="Right shoe footprint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779" r="27775"/>
              <a:stretch/>
            </p:blipFill>
            <p:spPr bwMode="auto">
              <a:xfrm>
                <a:off x="2412000" y="2349000"/>
                <a:ext cx="288000" cy="6480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180000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335182"/>
                    </a:solidFill>
                  </a14:hiddenFill>
                </a:ext>
              </a:extLst>
            </p:spPr>
          </p:pic>
        </p:grpSp>
      </p:grpSp>
      <p:sp>
        <p:nvSpPr>
          <p:cNvPr id="46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58203802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9002442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7"/>
          <p:cNvSpPr txBox="1">
            <a:spLocks/>
          </p:cNvSpPr>
          <p:nvPr/>
        </p:nvSpPr>
        <p:spPr>
          <a:xfrm>
            <a:off x="2143477" y="1989004"/>
            <a:ext cx="7776000" cy="360000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greements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ecisions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5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7" name="Text Placeholder 7"/>
          <p:cNvSpPr txBox="1">
            <a:spLocks/>
          </p:cNvSpPr>
          <p:nvPr/>
        </p:nvSpPr>
        <p:spPr>
          <a:xfrm>
            <a:off x="4656000" y="2493000"/>
            <a:ext cx="4464000" cy="57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Step</a:t>
            </a:r>
            <a:r>
              <a:rPr lang="de-DE" dirty="0"/>
              <a:t> 1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4656000" y="3141000"/>
            <a:ext cx="5040000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7"/>
          <p:cNvSpPr txBox="1">
            <a:spLocks/>
          </p:cNvSpPr>
          <p:nvPr/>
        </p:nvSpPr>
        <p:spPr>
          <a:xfrm>
            <a:off x="4656000" y="3213000"/>
            <a:ext cx="4464000" cy="57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Step</a:t>
            </a:r>
            <a:r>
              <a:rPr lang="de-DE" dirty="0"/>
              <a:t> 2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4656000" y="3861000"/>
            <a:ext cx="5040000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656000" y="4581000"/>
            <a:ext cx="5040000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7"/>
          <p:cNvSpPr txBox="1">
            <a:spLocks/>
          </p:cNvSpPr>
          <p:nvPr/>
        </p:nvSpPr>
        <p:spPr>
          <a:xfrm>
            <a:off x="4656000" y="3933000"/>
            <a:ext cx="4464000" cy="57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Step</a:t>
            </a:r>
            <a:r>
              <a:rPr lang="de-DE" dirty="0"/>
              <a:t> 3</a:t>
            </a:r>
          </a:p>
        </p:txBody>
      </p:sp>
      <p:sp>
        <p:nvSpPr>
          <p:cNvPr id="36" name="Text Placeholder 7"/>
          <p:cNvSpPr txBox="1">
            <a:spLocks/>
          </p:cNvSpPr>
          <p:nvPr/>
        </p:nvSpPr>
        <p:spPr>
          <a:xfrm>
            <a:off x="4656000" y="4653000"/>
            <a:ext cx="4464000" cy="57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Step</a:t>
            </a:r>
            <a:r>
              <a:rPr lang="de-DE" dirty="0"/>
              <a:t> 4</a:t>
            </a:r>
          </a:p>
        </p:txBody>
      </p:sp>
      <p:sp>
        <p:nvSpPr>
          <p:cNvPr id="18" name="Text Placeholder 7"/>
          <p:cNvSpPr txBox="1">
            <a:spLocks/>
          </p:cNvSpPr>
          <p:nvPr/>
        </p:nvSpPr>
        <p:spPr>
          <a:xfrm>
            <a:off x="9408000" y="2637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19" name="Text Placeholder 7"/>
          <p:cNvSpPr txBox="1">
            <a:spLocks/>
          </p:cNvSpPr>
          <p:nvPr/>
        </p:nvSpPr>
        <p:spPr>
          <a:xfrm>
            <a:off x="9408000" y="3357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20" name="Text Placeholder 7"/>
          <p:cNvSpPr txBox="1">
            <a:spLocks/>
          </p:cNvSpPr>
          <p:nvPr/>
        </p:nvSpPr>
        <p:spPr>
          <a:xfrm>
            <a:off x="9408000" y="4077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sp>
        <p:nvSpPr>
          <p:cNvPr id="21" name="Text Placeholder 7"/>
          <p:cNvSpPr txBox="1">
            <a:spLocks/>
          </p:cNvSpPr>
          <p:nvPr/>
        </p:nvSpPr>
        <p:spPr>
          <a:xfrm>
            <a:off x="9408000" y="4797000"/>
            <a:ext cx="2880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</p:txBody>
      </p:sp>
      <p:pic>
        <p:nvPicPr>
          <p:cNvPr id="22" name="Picture 21" descr="Pen_And_Signatur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 l="38449" r="18542"/>
          <a:stretch>
            <a:fillRect/>
          </a:stretch>
        </p:blipFill>
        <p:spPr bwMode="gray">
          <a:xfrm>
            <a:off x="2352005" y="2133005"/>
            <a:ext cx="2079625" cy="3354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409707010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906070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5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 Placeholder 7"/>
          <p:cNvSpPr txBox="1">
            <a:spLocks/>
          </p:cNvSpPr>
          <p:nvPr/>
        </p:nvSpPr>
        <p:spPr>
          <a:xfrm>
            <a:off x="7536000" y="4149005"/>
            <a:ext cx="2808000" cy="3364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Standardization</a:t>
            </a:r>
            <a:endParaRPr lang="de-DE" sz="1400" dirty="0"/>
          </a:p>
        </p:txBody>
      </p:sp>
      <p:sp>
        <p:nvSpPr>
          <p:cNvPr id="37" name="Text Placeholder 7"/>
          <p:cNvSpPr txBox="1">
            <a:spLocks/>
          </p:cNvSpPr>
          <p:nvPr/>
        </p:nvSpPr>
        <p:spPr>
          <a:xfrm>
            <a:off x="1920417" y="4341495"/>
            <a:ext cx="1151587" cy="100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Examp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cxnSp>
        <p:nvCxnSpPr>
          <p:cNvPr id="14" name="Straight Connector 87"/>
          <p:cNvCxnSpPr/>
          <p:nvPr>
            <p:custDataLst>
              <p:tags r:id="rId3"/>
            </p:custDataLst>
          </p:nvPr>
        </p:nvCxnSpPr>
        <p:spPr bwMode="gray">
          <a:xfrm>
            <a:off x="3129776" y="2790943"/>
            <a:ext cx="412827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87"/>
          <p:cNvCxnSpPr/>
          <p:nvPr>
            <p:custDataLst>
              <p:tags r:id="rId4"/>
            </p:custDataLst>
          </p:nvPr>
        </p:nvCxnSpPr>
        <p:spPr bwMode="gray">
          <a:xfrm>
            <a:off x="3129776" y="4278336"/>
            <a:ext cx="412827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6" name="Chevron 43"/>
          <p:cNvSpPr/>
          <p:nvPr/>
        </p:nvSpPr>
        <p:spPr bwMode="gray">
          <a:xfrm rot="5400000">
            <a:off x="7032000" y="1485637"/>
            <a:ext cx="144000" cy="144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" charset="0"/>
            </a:endParaRPr>
          </a:p>
        </p:txBody>
      </p:sp>
      <p:sp>
        <p:nvSpPr>
          <p:cNvPr id="18" name="AutoShape 25"/>
          <p:cNvSpPr>
            <a:spLocks noChangeArrowheads="1"/>
          </p:cNvSpPr>
          <p:nvPr/>
        </p:nvSpPr>
        <p:spPr bwMode="gray">
          <a:xfrm>
            <a:off x="7392000" y="1413638"/>
            <a:ext cx="3024000" cy="45347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83202" tIns="41602" rIns="83202" bIns="41602" anchor="ctr"/>
          <a:lstStyle/>
          <a:p>
            <a:pPr algn="ctr" defTabSz="892768"/>
            <a:endParaRPr lang="en-US" sz="1200" ker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feld 15"/>
          <p:cNvSpPr txBox="1"/>
          <p:nvPr>
            <p:custDataLst>
              <p:tags r:id="rId5"/>
            </p:custDataLst>
          </p:nvPr>
        </p:nvSpPr>
        <p:spPr bwMode="gray">
          <a:xfrm>
            <a:off x="7448551" y="1413637"/>
            <a:ext cx="288290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400" b="1" dirty="0"/>
              <a:t>Key Message Box</a:t>
            </a:r>
          </a:p>
        </p:txBody>
      </p:sp>
      <p:cxnSp>
        <p:nvCxnSpPr>
          <p:cNvPr id="21" name="Straight Connector 87"/>
          <p:cNvCxnSpPr/>
          <p:nvPr>
            <p:custDataLst>
              <p:tags r:id="rId6"/>
            </p:custDataLst>
          </p:nvPr>
        </p:nvCxnSpPr>
        <p:spPr bwMode="gray">
          <a:xfrm>
            <a:off x="7464001" y="1701637"/>
            <a:ext cx="288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4" name="Textfeld 7"/>
          <p:cNvSpPr txBox="1"/>
          <p:nvPr/>
        </p:nvSpPr>
        <p:spPr bwMode="gray">
          <a:xfrm>
            <a:off x="1776263" y="4721866"/>
            <a:ext cx="247258" cy="247258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200" dirty="0"/>
              <a:t>1</a:t>
            </a:r>
          </a:p>
        </p:txBody>
      </p:sp>
      <p:sp>
        <p:nvSpPr>
          <p:cNvPr id="35" name="Text Placeholder 7"/>
          <p:cNvSpPr txBox="1">
            <a:spLocks/>
          </p:cNvSpPr>
          <p:nvPr/>
        </p:nvSpPr>
        <p:spPr>
          <a:xfrm>
            <a:off x="1776412" y="1845637"/>
            <a:ext cx="1295588" cy="86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Standardization</a:t>
            </a:r>
            <a:endParaRPr lang="de-DE" sz="1400" dirty="0"/>
          </a:p>
        </p:txBody>
      </p:sp>
      <p:sp>
        <p:nvSpPr>
          <p:cNvPr id="36" name="Text Placeholder 7"/>
          <p:cNvSpPr txBox="1">
            <a:spLocks/>
          </p:cNvSpPr>
          <p:nvPr/>
        </p:nvSpPr>
        <p:spPr>
          <a:xfrm>
            <a:off x="1776412" y="2853638"/>
            <a:ext cx="1295588" cy="129536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Standardization</a:t>
            </a:r>
            <a:endParaRPr lang="de-DE" sz="1400" dirty="0"/>
          </a:p>
        </p:txBody>
      </p:sp>
      <p:sp>
        <p:nvSpPr>
          <p:cNvPr id="38" name="Text Placeholder 7"/>
          <p:cNvSpPr txBox="1">
            <a:spLocks/>
          </p:cNvSpPr>
          <p:nvPr/>
        </p:nvSpPr>
        <p:spPr>
          <a:xfrm>
            <a:off x="3144000" y="1845642"/>
            <a:ext cx="4104000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39" name="Text Placeholder 7"/>
          <p:cNvSpPr txBox="1">
            <a:spLocks/>
          </p:cNvSpPr>
          <p:nvPr/>
        </p:nvSpPr>
        <p:spPr>
          <a:xfrm>
            <a:off x="3144000" y="2853637"/>
            <a:ext cx="4104000" cy="11156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en-US" sz="1400" dirty="0"/>
              <a:t>No outline</a:t>
            </a:r>
          </a:p>
          <a:p>
            <a:pPr marL="177800" lvl="2" indent="-177800"/>
            <a:r>
              <a:rPr lang="en-US" sz="1400" dirty="0"/>
              <a:t>Inner margins: 0 cm</a:t>
            </a:r>
          </a:p>
          <a:p>
            <a:pPr marL="177800" lvl="2" indent="-177800"/>
            <a:r>
              <a:rPr lang="en-US" sz="1400" dirty="0"/>
              <a:t>Alignment top left </a:t>
            </a:r>
          </a:p>
          <a:p>
            <a:pPr marL="177800" lvl="2" indent="-177800">
              <a:spcBef>
                <a:spcPts val="0"/>
              </a:spcBef>
            </a:pPr>
            <a:r>
              <a:rPr lang="en-US" sz="1400" dirty="0"/>
              <a:t>Wrap text in shape</a:t>
            </a:r>
          </a:p>
          <a:p>
            <a:pPr marL="177800" lvl="2" indent="-177800"/>
            <a:r>
              <a:rPr lang="en-US" sz="1400" dirty="0"/>
              <a:t>Line Spacing: single</a:t>
            </a:r>
          </a:p>
        </p:txBody>
      </p:sp>
      <p:sp>
        <p:nvSpPr>
          <p:cNvPr id="40" name="Text Placeholder 7"/>
          <p:cNvSpPr txBox="1">
            <a:spLocks/>
          </p:cNvSpPr>
          <p:nvPr/>
        </p:nvSpPr>
        <p:spPr>
          <a:xfrm>
            <a:off x="3144000" y="4341500"/>
            <a:ext cx="4104000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41" name="Text Placeholder 7"/>
          <p:cNvSpPr txBox="1">
            <a:spLocks/>
          </p:cNvSpPr>
          <p:nvPr/>
        </p:nvSpPr>
        <p:spPr>
          <a:xfrm>
            <a:off x="7464000" y="2997637"/>
            <a:ext cx="2880000" cy="28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Standardization</a:t>
            </a:r>
            <a:endParaRPr lang="de-DE" sz="1400" dirty="0"/>
          </a:p>
        </p:txBody>
      </p:sp>
      <p:sp>
        <p:nvSpPr>
          <p:cNvPr id="46" name="Text Placeholder 7"/>
          <p:cNvSpPr txBox="1">
            <a:spLocks/>
          </p:cNvSpPr>
          <p:nvPr/>
        </p:nvSpPr>
        <p:spPr>
          <a:xfrm>
            <a:off x="7608000" y="4341500"/>
            <a:ext cx="280800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</p:txBody>
      </p:sp>
      <p:sp>
        <p:nvSpPr>
          <p:cNvPr id="47" name="Text Placeholder 7"/>
          <p:cNvSpPr txBox="1">
            <a:spLocks/>
          </p:cNvSpPr>
          <p:nvPr/>
        </p:nvSpPr>
        <p:spPr>
          <a:xfrm>
            <a:off x="7536000" y="5229000"/>
            <a:ext cx="2736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7188"/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r>
              <a:rPr lang="de-DE" sz="1600" dirty="0"/>
              <a:t> </a:t>
            </a:r>
            <a:r>
              <a:rPr lang="de-DE" sz="1600" dirty="0" err="1"/>
              <a:t>sadipscing</a:t>
            </a:r>
            <a:r>
              <a:rPr lang="de-DE" sz="1600" dirty="0"/>
              <a:t> </a:t>
            </a:r>
            <a:r>
              <a:rPr lang="de-DE" sz="1600" dirty="0" err="1"/>
              <a:t>elitr</a:t>
            </a:r>
            <a:endParaRPr lang="de-DE" sz="1600" dirty="0"/>
          </a:p>
        </p:txBody>
      </p:sp>
      <p:sp>
        <p:nvSpPr>
          <p:cNvPr id="48" name="Text Placeholder 7"/>
          <p:cNvSpPr txBox="1">
            <a:spLocks/>
          </p:cNvSpPr>
          <p:nvPr/>
        </p:nvSpPr>
        <p:spPr>
          <a:xfrm>
            <a:off x="7608000" y="3357642"/>
            <a:ext cx="280800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</p:txBody>
      </p:sp>
      <p:sp>
        <p:nvSpPr>
          <p:cNvPr id="49" name="Text Placeholder 7"/>
          <p:cNvSpPr txBox="1">
            <a:spLocks/>
          </p:cNvSpPr>
          <p:nvPr/>
        </p:nvSpPr>
        <p:spPr>
          <a:xfrm>
            <a:off x="7608000" y="1845642"/>
            <a:ext cx="280800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</p:txBody>
      </p:sp>
      <p:cxnSp>
        <p:nvCxnSpPr>
          <p:cNvPr id="50" name="Straight Connector 87"/>
          <p:cNvCxnSpPr/>
          <p:nvPr/>
        </p:nvCxnSpPr>
        <p:spPr bwMode="gray">
          <a:xfrm>
            <a:off x="1776413" y="1701637"/>
            <a:ext cx="54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51" name="Text Placeholder 7"/>
          <p:cNvSpPr txBox="1">
            <a:spLocks/>
          </p:cNvSpPr>
          <p:nvPr/>
        </p:nvSpPr>
        <p:spPr>
          <a:xfrm>
            <a:off x="1776413" y="1413637"/>
            <a:ext cx="51840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Sub title</a:t>
            </a:r>
            <a:endParaRPr lang="de-DE" sz="1200" dirty="0"/>
          </a:p>
        </p:txBody>
      </p:sp>
      <p:sp>
        <p:nvSpPr>
          <p:cNvPr id="31" name="Textfeld 7"/>
          <p:cNvSpPr txBox="1"/>
          <p:nvPr/>
        </p:nvSpPr>
        <p:spPr bwMode="gray">
          <a:xfrm>
            <a:off x="7439418" y="4310237"/>
            <a:ext cx="247258" cy="247258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200" dirty="0"/>
              <a:t>1</a:t>
            </a:r>
          </a:p>
        </p:txBody>
      </p:sp>
      <p:sp>
        <p:nvSpPr>
          <p:cNvPr id="4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884173405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48642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Key Messag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8" name="AutoShape 25"/>
          <p:cNvSpPr>
            <a:spLocks noChangeArrowheads="1"/>
          </p:cNvSpPr>
          <p:nvPr/>
        </p:nvSpPr>
        <p:spPr bwMode="gray">
          <a:xfrm>
            <a:off x="7392000" y="1413638"/>
            <a:ext cx="3024000" cy="45347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83202" tIns="41602" rIns="83202" bIns="41602" anchor="ctr"/>
          <a:lstStyle/>
          <a:p>
            <a:pPr algn="ctr" defTabSz="892768"/>
            <a:endParaRPr lang="en-US" sz="1200" ker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feld 15"/>
          <p:cNvSpPr txBox="1"/>
          <p:nvPr/>
        </p:nvSpPr>
        <p:spPr bwMode="gray">
          <a:xfrm>
            <a:off x="7448551" y="1413637"/>
            <a:ext cx="288290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400" b="1" dirty="0"/>
              <a:t>key message</a:t>
            </a:r>
          </a:p>
        </p:txBody>
      </p:sp>
      <p:cxnSp>
        <p:nvCxnSpPr>
          <p:cNvPr id="21" name="Straight Connector 87"/>
          <p:cNvCxnSpPr/>
          <p:nvPr/>
        </p:nvCxnSpPr>
        <p:spPr bwMode="gray">
          <a:xfrm>
            <a:off x="7464001" y="1701637"/>
            <a:ext cx="288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47" name="Text Placeholder 7"/>
          <p:cNvSpPr txBox="1">
            <a:spLocks/>
          </p:cNvSpPr>
          <p:nvPr/>
        </p:nvSpPr>
        <p:spPr>
          <a:xfrm>
            <a:off x="7536000" y="5229000"/>
            <a:ext cx="2736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7188"/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r>
              <a:rPr lang="de-DE" sz="1600" dirty="0"/>
              <a:t> </a:t>
            </a:r>
            <a:r>
              <a:rPr lang="de-DE" sz="1600" dirty="0" err="1"/>
              <a:t>sadipscing</a:t>
            </a:r>
            <a:r>
              <a:rPr lang="de-DE" sz="1600" dirty="0"/>
              <a:t> </a:t>
            </a:r>
            <a:r>
              <a:rPr lang="de-DE" sz="1600" dirty="0" err="1"/>
              <a:t>elitr</a:t>
            </a:r>
            <a:endParaRPr lang="de-DE" sz="1600" dirty="0"/>
          </a:p>
        </p:txBody>
      </p:sp>
      <p:sp>
        <p:nvSpPr>
          <p:cNvPr id="49" name="Text Placeholder 7"/>
          <p:cNvSpPr txBox="1">
            <a:spLocks/>
          </p:cNvSpPr>
          <p:nvPr/>
        </p:nvSpPr>
        <p:spPr>
          <a:xfrm>
            <a:off x="7608000" y="1845637"/>
            <a:ext cx="2808000" cy="24211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177800" lvl="2" indent="-177800"/>
            <a:endParaRPr lang="de-DE" sz="1400" dirty="0"/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177800" lvl="2" indent="-177800"/>
            <a:endParaRPr lang="de-DE" sz="1400" dirty="0"/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</p:txBody>
      </p:sp>
      <p:cxnSp>
        <p:nvCxnSpPr>
          <p:cNvPr id="50" name="Straight Connector 87"/>
          <p:cNvCxnSpPr/>
          <p:nvPr/>
        </p:nvCxnSpPr>
        <p:spPr bwMode="gray">
          <a:xfrm>
            <a:off x="1776413" y="1701637"/>
            <a:ext cx="54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51" name="Text Placeholder 7"/>
          <p:cNvSpPr txBox="1">
            <a:spLocks/>
          </p:cNvSpPr>
          <p:nvPr/>
        </p:nvSpPr>
        <p:spPr>
          <a:xfrm>
            <a:off x="1776413" y="1413637"/>
            <a:ext cx="51840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Sub title</a:t>
            </a:r>
            <a:endParaRPr lang="de-DE" sz="1200" dirty="0"/>
          </a:p>
        </p:txBody>
      </p:sp>
      <p:sp>
        <p:nvSpPr>
          <p:cNvPr id="32" name="Text Placeholder 7"/>
          <p:cNvSpPr txBox="1">
            <a:spLocks/>
          </p:cNvSpPr>
          <p:nvPr/>
        </p:nvSpPr>
        <p:spPr>
          <a:xfrm>
            <a:off x="1776413" y="1845642"/>
            <a:ext cx="5400000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33" name="Textfeld 7"/>
          <p:cNvSpPr txBox="1"/>
          <p:nvPr/>
        </p:nvSpPr>
        <p:spPr bwMode="gray">
          <a:xfrm>
            <a:off x="7439418" y="2709638"/>
            <a:ext cx="248400" cy="24840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43" name="Textfeld 7"/>
          <p:cNvSpPr txBox="1"/>
          <p:nvPr/>
        </p:nvSpPr>
        <p:spPr bwMode="gray">
          <a:xfrm>
            <a:off x="7439418" y="3573638"/>
            <a:ext cx="248400" cy="24840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44" name="Textfeld 7"/>
          <p:cNvSpPr txBox="1"/>
          <p:nvPr/>
        </p:nvSpPr>
        <p:spPr bwMode="gray">
          <a:xfrm>
            <a:off x="7439418" y="1845638"/>
            <a:ext cx="248400" cy="24840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52" name="Chevron 43"/>
          <p:cNvSpPr/>
          <p:nvPr/>
        </p:nvSpPr>
        <p:spPr bwMode="gray">
          <a:xfrm rot="5400000">
            <a:off x="7032000" y="1485637"/>
            <a:ext cx="144000" cy="144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" charset="0"/>
            </a:endParaRPr>
          </a:p>
        </p:txBody>
      </p:sp>
      <p:sp>
        <p:nvSpPr>
          <p:cNvPr id="2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96371226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8147" y="2138068"/>
            <a:ext cx="2160000" cy="12189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324000" y="899999"/>
            <a:ext cx="11518901" cy="5364000"/>
          </a:xfrm>
        </p:spPr>
        <p:txBody>
          <a:bodyPr>
            <a:normAutofit fontScale="77500" lnSpcReduction="20000"/>
          </a:bodyPr>
          <a:lstStyle/>
          <a:p>
            <a:r>
              <a:rPr lang="de-DE" sz="2600" dirty="0" err="1"/>
              <a:t>Usage</a:t>
            </a:r>
            <a:r>
              <a:rPr lang="de-DE" sz="2600" dirty="0"/>
              <a:t> FIRST TIME</a:t>
            </a:r>
          </a:p>
          <a:p>
            <a:pPr lvl="1"/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Install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nd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ctivat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xxiom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ribbon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s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ADDIN</a:t>
            </a:r>
          </a:p>
          <a:p>
            <a:pPr lvl="2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Open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presentation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1">
                    <a:lumMod val="85000"/>
                  </a:schemeClr>
                </a:solidFill>
              </a:rPr>
              <a:t>Axxiome</a:t>
            </a:r>
            <a:r>
              <a:rPr lang="de-DE" b="1" dirty="0">
                <a:solidFill>
                  <a:schemeClr val="bg1">
                    <a:lumMod val="85000"/>
                  </a:schemeClr>
                </a:solidFill>
              </a:rPr>
              <a:t> Template Ribbon.PPTM</a:t>
            </a:r>
          </a:p>
          <a:p>
            <a:pPr lvl="2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Save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this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fil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s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PPAM</a:t>
            </a:r>
          </a:p>
          <a:p>
            <a:pPr lvl="3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FILE &gt; SAVE AS &gt; COMPUTER &gt; BROWSE &gt;</a:t>
            </a:r>
          </a:p>
          <a:p>
            <a:pPr lvl="3"/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Choos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SAVE AS TYPE: PowerPoint Add-In (*.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ppam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)</a:t>
            </a:r>
          </a:p>
          <a:p>
            <a:pPr lvl="3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SAVE</a:t>
            </a:r>
          </a:p>
          <a:p>
            <a:pPr lvl="2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Load Add-In</a:t>
            </a:r>
          </a:p>
          <a:p>
            <a:pPr lvl="3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FILE &gt; OPTIONS &gt; ADD-INS</a:t>
            </a:r>
          </a:p>
          <a:p>
            <a:pPr lvl="3"/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Choos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MANAGE: PowerPoint Add-Ins</a:t>
            </a:r>
          </a:p>
          <a:p>
            <a:pPr lvl="3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GO &gt; ADD NEW</a:t>
            </a:r>
          </a:p>
          <a:p>
            <a:pPr lvl="3"/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Choos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: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xxiom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Template Ribbon.ppam</a:t>
            </a:r>
          </a:p>
          <a:p>
            <a:pPr lvl="3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OPEN</a:t>
            </a:r>
          </a:p>
          <a:p>
            <a:pPr lvl="2"/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The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xxiom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ribbon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should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ppear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permanent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nd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everytime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, </a:t>
            </a:r>
            <a:br>
              <a:rPr lang="de-DE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no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further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action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85000"/>
                  </a:schemeClr>
                </a:solidFill>
              </a:rPr>
              <a:t>required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lvl="1"/>
            <a:r>
              <a:rPr lang="de-DE" sz="2600" dirty="0" err="1"/>
              <a:t>Install</a:t>
            </a:r>
            <a:r>
              <a:rPr lang="de-DE" sz="2600" dirty="0"/>
              <a:t> </a:t>
            </a:r>
            <a:r>
              <a:rPr lang="de-DE" sz="2600" dirty="0" err="1"/>
              <a:t>the</a:t>
            </a:r>
            <a:r>
              <a:rPr lang="de-DE" sz="2600" dirty="0"/>
              <a:t> </a:t>
            </a:r>
            <a:r>
              <a:rPr lang="de-DE" sz="2600" dirty="0" err="1"/>
              <a:t>presentation</a:t>
            </a:r>
            <a:r>
              <a:rPr lang="de-DE" sz="2600" dirty="0"/>
              <a:t> </a:t>
            </a:r>
            <a:r>
              <a:rPr lang="de-DE" sz="2600" dirty="0" err="1"/>
              <a:t>as</a:t>
            </a:r>
            <a:r>
              <a:rPr lang="de-DE" sz="2600" dirty="0"/>
              <a:t> </a:t>
            </a:r>
            <a:r>
              <a:rPr lang="de-DE" sz="2600" dirty="0" err="1"/>
              <a:t>template</a:t>
            </a:r>
            <a:r>
              <a:rPr lang="de-DE" sz="2600" dirty="0"/>
              <a:t>-file POTX</a:t>
            </a:r>
          </a:p>
          <a:p>
            <a:pPr lvl="2"/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b="1" dirty="0" err="1"/>
              <a:t>Axxiome</a:t>
            </a:r>
            <a:r>
              <a:rPr lang="de-DE" b="1" dirty="0"/>
              <a:t> Template Slides.PPTX</a:t>
            </a:r>
          </a:p>
          <a:p>
            <a:pPr lvl="2"/>
            <a:r>
              <a:rPr lang="de-DE" dirty="0"/>
              <a:t>Sav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POTX</a:t>
            </a:r>
          </a:p>
          <a:p>
            <a:pPr lvl="3"/>
            <a:r>
              <a:rPr lang="de-DE" dirty="0"/>
              <a:t>FILE &gt; SAVE AS &gt; COMPUTER &gt; BROWSE &gt;</a:t>
            </a:r>
          </a:p>
          <a:p>
            <a:pPr lvl="3"/>
            <a:r>
              <a:rPr lang="de-DE" dirty="0" err="1"/>
              <a:t>Choose</a:t>
            </a:r>
            <a:r>
              <a:rPr lang="de-DE" dirty="0"/>
              <a:t> SAVE AS TYPE: PowerPoint Template (*.</a:t>
            </a:r>
            <a:r>
              <a:rPr lang="de-DE" dirty="0" err="1"/>
              <a:t>potx</a:t>
            </a:r>
            <a:r>
              <a:rPr lang="de-DE" dirty="0"/>
              <a:t>)</a:t>
            </a:r>
          </a:p>
          <a:p>
            <a:pPr lvl="3"/>
            <a:r>
              <a:rPr lang="de-DE" dirty="0"/>
              <a:t>SAVE</a:t>
            </a:r>
          </a:p>
          <a:p>
            <a:r>
              <a:rPr lang="de-DE" sz="2600" dirty="0" err="1"/>
              <a:t>Usage</a:t>
            </a:r>
            <a:r>
              <a:rPr lang="de-DE" sz="2600" dirty="0"/>
              <a:t> in </a:t>
            </a:r>
            <a:r>
              <a:rPr lang="de-DE" sz="2600" dirty="0" err="1"/>
              <a:t>general</a:t>
            </a:r>
            <a:endParaRPr lang="de-DE" sz="2600" dirty="0"/>
          </a:p>
          <a:p>
            <a:pPr lvl="2"/>
            <a:r>
              <a:rPr lang="de-DE" dirty="0"/>
              <a:t>Create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lvl="3"/>
            <a:r>
              <a:rPr lang="de-DE" dirty="0"/>
              <a:t>FILE &gt; NEW &gt; PERSONAL</a:t>
            </a:r>
          </a:p>
          <a:p>
            <a:pPr lvl="3"/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mplate</a:t>
            </a:r>
            <a:r>
              <a:rPr lang="de-DE" dirty="0"/>
              <a:t> AXXIOME TEMPLATE SLIDES</a:t>
            </a:r>
          </a:p>
          <a:p>
            <a:pPr lvl="3"/>
            <a:r>
              <a:rPr lang="de-DE" dirty="0"/>
              <a:t>CREATE</a:t>
            </a:r>
          </a:p>
          <a:p>
            <a:pPr lvl="2"/>
            <a:r>
              <a:rPr lang="de-DE" dirty="0"/>
              <a:t>All </a:t>
            </a:r>
            <a:r>
              <a:rPr lang="de-DE" dirty="0" err="1"/>
              <a:t>slid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n </a:t>
            </a:r>
            <a:r>
              <a:rPr lang="de-DE" dirty="0" err="1"/>
              <a:t>darkblue</a:t>
            </a:r>
            <a:r>
              <a:rPr lang="de-DE" dirty="0"/>
              <a:t> </a:t>
            </a:r>
            <a:r>
              <a:rPr lang="de-DE" dirty="0" err="1"/>
              <a:t>triangl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pied</a:t>
            </a:r>
            <a:r>
              <a:rPr lang="de-DE" dirty="0"/>
              <a:t> und </a:t>
            </a:r>
            <a:r>
              <a:rPr lang="de-DE" dirty="0" err="1"/>
              <a:t>used</a:t>
            </a:r>
            <a:r>
              <a:rPr lang="de-DE" dirty="0"/>
              <a:t>, just </a:t>
            </a:r>
            <a:r>
              <a:rPr lang="de-DE" dirty="0" err="1"/>
              <a:t>rem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iangle</a:t>
            </a:r>
            <a:endParaRPr lang="de-DE" dirty="0"/>
          </a:p>
          <a:p>
            <a:pPr lvl="2"/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finished</a:t>
            </a:r>
            <a:r>
              <a:rPr lang="de-DE" dirty="0"/>
              <a:t> </a:t>
            </a:r>
            <a:r>
              <a:rPr lang="de-DE" dirty="0" err="1"/>
              <a:t>making</a:t>
            </a:r>
            <a:r>
              <a:rPr lang="de-DE" dirty="0"/>
              <a:t> a </a:t>
            </a:r>
            <a:r>
              <a:rPr lang="de-DE" dirty="0" err="1"/>
              <a:t>presentation</a:t>
            </a:r>
            <a:r>
              <a:rPr lang="de-DE" dirty="0"/>
              <a:t>, </a:t>
            </a:r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remove</a:t>
            </a:r>
            <a:r>
              <a:rPr lang="de-DE" dirty="0"/>
              <a:t> </a:t>
            </a:r>
            <a:r>
              <a:rPr lang="de-DE" dirty="0" err="1"/>
              <a:t>the</a:t>
            </a:r>
            <a:br>
              <a:rPr lang="de-DE" dirty="0"/>
            </a:br>
            <a:r>
              <a:rPr lang="de-DE" dirty="0" err="1"/>
              <a:t>template</a:t>
            </a:r>
            <a:r>
              <a:rPr lang="de-DE" dirty="0"/>
              <a:t> </a:t>
            </a:r>
            <a:r>
              <a:rPr lang="de-DE" dirty="0" err="1"/>
              <a:t>section</a:t>
            </a:r>
            <a:r>
              <a:rPr lang="de-DE" dirty="0"/>
              <a:t> incl.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lides</a:t>
            </a:r>
            <a:r>
              <a:rPr lang="de-DE" dirty="0"/>
              <a:t> i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slide</a:t>
            </a:r>
            <a:r>
              <a:rPr lang="de-DE" dirty="0"/>
              <a:t> deck!!!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endParaRPr lang="de-AT"/>
          </a:p>
        </p:txBody>
      </p:sp>
      <p:pic>
        <p:nvPicPr>
          <p:cNvPr id="9" name="Picture 7"/>
          <p:cNvPicPr>
            <a:picLocks noChangeAspect="1"/>
          </p:cNvPicPr>
          <p:nvPr/>
        </p:nvPicPr>
        <p:blipFill rotWithShape="1">
          <a:blip r:embed="rId3"/>
          <a:srcRect t="29571" b="20290"/>
          <a:stretch/>
        </p:blipFill>
        <p:spPr>
          <a:xfrm>
            <a:off x="6278152" y="986063"/>
            <a:ext cx="2769853" cy="1152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Text Placeholder 6"/>
          <p:cNvSpPr txBox="1">
            <a:spLocks/>
          </p:cNvSpPr>
          <p:nvPr/>
        </p:nvSpPr>
        <p:spPr>
          <a:xfrm>
            <a:off x="6600000" y="3260728"/>
            <a:ext cx="3888000" cy="1248272"/>
          </a:xfrm>
          <a:prstGeom prst="rect">
            <a:avLst/>
          </a:prstGeom>
          <a:solidFill>
            <a:schemeClr val="accent5"/>
          </a:solidFill>
          <a:ln>
            <a:solidFill>
              <a:prstClr val="black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rtlCol="0" anchor="ctr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Tip:</a:t>
            </a:r>
          </a:p>
          <a:p>
            <a:pPr lvl="2"/>
            <a:r>
              <a:rPr lang="en-US" sz="1400"/>
              <a:t>After reading delete this slide</a:t>
            </a:r>
          </a:p>
          <a:p>
            <a:pPr lvl="2"/>
            <a:r>
              <a:rPr lang="en-US" sz="1400"/>
              <a:t>Change your name, mobile-number and email on Title- and End-Slide in the master BEFORE saving it as potx-File…</a:t>
            </a:r>
            <a:endParaRPr lang="en-US" sz="1400" dirty="0"/>
          </a:p>
        </p:txBody>
      </p:sp>
      <p:pic>
        <p:nvPicPr>
          <p:cNvPr id="11" name="Picture 8"/>
          <p:cNvPicPr>
            <a:picLocks noChangeAspect="1"/>
          </p:cNvPicPr>
          <p:nvPr/>
        </p:nvPicPr>
        <p:blipFill rotWithShape="1">
          <a:blip r:embed="rId4"/>
          <a:srcRect t="35185" r="73583" b="14444"/>
          <a:stretch/>
        </p:blipFill>
        <p:spPr>
          <a:xfrm>
            <a:off x="8400000" y="4653000"/>
            <a:ext cx="1474610" cy="1581600"/>
          </a:xfrm>
          <a:prstGeom prst="rect">
            <a:avLst/>
          </a:prstGeom>
          <a:ln>
            <a:solidFill>
              <a:prstClr val="black"/>
            </a:solidFill>
          </a:ln>
        </p:spPr>
      </p:pic>
      <p:sp>
        <p:nvSpPr>
          <p:cNvPr id="1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781709129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tep Approac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6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45" name="Gruppieren 66"/>
          <p:cNvGrpSpPr/>
          <p:nvPr/>
        </p:nvGrpSpPr>
        <p:grpSpPr>
          <a:xfrm>
            <a:off x="3477626" y="3079125"/>
            <a:ext cx="1710176" cy="2837474"/>
            <a:chOff x="2034913" y="3344151"/>
            <a:chExt cx="1710176" cy="2777295"/>
          </a:xfrm>
        </p:grpSpPr>
        <p:sp>
          <p:nvSpPr>
            <p:cNvPr id="46" name="Line 34"/>
            <p:cNvSpPr>
              <a:spLocks noChangeShapeType="1"/>
            </p:cNvSpPr>
            <p:nvPr/>
          </p:nvSpPr>
          <p:spPr bwMode="gray">
            <a:xfrm>
              <a:off x="2034913" y="4195625"/>
              <a:ext cx="0" cy="1925821"/>
            </a:xfrm>
            <a:prstGeom prst="line">
              <a:avLst/>
            </a:prstGeom>
            <a:noFill/>
            <a:ln w="9525">
              <a:solidFill>
                <a:schemeClr val="accent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1313" tIns="45657" rIns="91313" bIns="45657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400" i="1">
                <a:solidFill>
                  <a:srgbClr val="000000"/>
                </a:solidFill>
              </a:endParaRPr>
            </a:p>
          </p:txBody>
        </p:sp>
        <p:sp>
          <p:nvSpPr>
            <p:cNvPr id="47" name="Line 34"/>
            <p:cNvSpPr>
              <a:spLocks noChangeShapeType="1"/>
            </p:cNvSpPr>
            <p:nvPr/>
          </p:nvSpPr>
          <p:spPr bwMode="gray">
            <a:xfrm>
              <a:off x="3745089" y="3344151"/>
              <a:ext cx="0" cy="2765794"/>
            </a:xfrm>
            <a:prstGeom prst="line">
              <a:avLst/>
            </a:prstGeom>
            <a:noFill/>
            <a:ln w="9525">
              <a:solidFill>
                <a:schemeClr val="accent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1313" tIns="45657" rIns="91313" bIns="45657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400" i="1">
                <a:solidFill>
                  <a:srgbClr val="000000"/>
                </a:solidFill>
              </a:endParaRPr>
            </a:p>
          </p:txBody>
        </p:sp>
      </p:grpSp>
      <p:sp>
        <p:nvSpPr>
          <p:cNvPr id="48" name="Freeform 2"/>
          <p:cNvSpPr>
            <a:spLocks/>
          </p:cNvSpPr>
          <p:nvPr/>
        </p:nvSpPr>
        <p:spPr bwMode="gray">
          <a:xfrm>
            <a:off x="1704005" y="3775180"/>
            <a:ext cx="1512633" cy="599961"/>
          </a:xfrm>
          <a:custGeom>
            <a:avLst/>
            <a:gdLst>
              <a:gd name="T0" fmla="*/ 2147483647 w 2058"/>
              <a:gd name="T1" fmla="*/ 2147483647 h 918"/>
              <a:gd name="T2" fmla="*/ 2147483647 w 2058"/>
              <a:gd name="T3" fmla="*/ 2147483647 h 918"/>
              <a:gd name="T4" fmla="*/ 2147483647 w 2058"/>
              <a:gd name="T5" fmla="*/ 2147483647 h 918"/>
              <a:gd name="T6" fmla="*/ 2147483647 w 2058"/>
              <a:gd name="T7" fmla="*/ 0 h 918"/>
              <a:gd name="T8" fmla="*/ 2147483647 w 2058"/>
              <a:gd name="T9" fmla="*/ 0 h 918"/>
              <a:gd name="T10" fmla="*/ 2147483647 w 2058"/>
              <a:gd name="T11" fmla="*/ 2147483647 h 918"/>
              <a:gd name="T12" fmla="*/ 2147483647 w 2058"/>
              <a:gd name="T13" fmla="*/ 2147483647 h 918"/>
              <a:gd name="T14" fmla="*/ 2147483647 w 2058"/>
              <a:gd name="T15" fmla="*/ 2147483647 h 918"/>
              <a:gd name="T16" fmla="*/ 2147483647 w 2058"/>
              <a:gd name="T17" fmla="*/ 2147483647 h 918"/>
              <a:gd name="T18" fmla="*/ 2147483647 w 2058"/>
              <a:gd name="T19" fmla="*/ 2147483647 h 918"/>
              <a:gd name="T20" fmla="*/ 2147483647 w 2058"/>
              <a:gd name="T21" fmla="*/ 2147483647 h 918"/>
              <a:gd name="T22" fmla="*/ 2147483647 w 2058"/>
              <a:gd name="T23" fmla="*/ 2147483647 h 918"/>
              <a:gd name="T24" fmla="*/ 2147483647 w 2058"/>
              <a:gd name="T25" fmla="*/ 2147483647 h 918"/>
              <a:gd name="T26" fmla="*/ 2147483647 w 2058"/>
              <a:gd name="T27" fmla="*/ 2147483647 h 918"/>
              <a:gd name="T28" fmla="*/ 2147483647 w 2058"/>
              <a:gd name="T29" fmla="*/ 2147483647 h 918"/>
              <a:gd name="T30" fmla="*/ 0 w 2058"/>
              <a:gd name="T31" fmla="*/ 2147483647 h 918"/>
              <a:gd name="T32" fmla="*/ 2147483647 w 2058"/>
              <a:gd name="T33" fmla="*/ 2147483647 h 918"/>
              <a:gd name="T34" fmla="*/ 2147483647 w 2058"/>
              <a:gd name="T35" fmla="*/ 2147483647 h 918"/>
              <a:gd name="T36" fmla="*/ 2147483647 w 2058"/>
              <a:gd name="T37" fmla="*/ 2147483647 h 918"/>
              <a:gd name="T38" fmla="*/ 2147483647 w 2058"/>
              <a:gd name="T39" fmla="*/ 2147483647 h 9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58"/>
              <a:gd name="T61" fmla="*/ 0 h 918"/>
              <a:gd name="T62" fmla="*/ 2058 w 2058"/>
              <a:gd name="T63" fmla="*/ 918 h 91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58" h="918">
                <a:moveTo>
                  <a:pt x="1938" y="114"/>
                </a:moveTo>
                <a:lnTo>
                  <a:pt x="1722" y="48"/>
                </a:lnTo>
                <a:lnTo>
                  <a:pt x="1518" y="12"/>
                </a:lnTo>
                <a:lnTo>
                  <a:pt x="1368" y="0"/>
                </a:lnTo>
                <a:lnTo>
                  <a:pt x="1194" y="0"/>
                </a:lnTo>
                <a:lnTo>
                  <a:pt x="1014" y="12"/>
                </a:lnTo>
                <a:lnTo>
                  <a:pt x="864" y="42"/>
                </a:lnTo>
                <a:lnTo>
                  <a:pt x="678" y="96"/>
                </a:lnTo>
                <a:lnTo>
                  <a:pt x="534" y="150"/>
                </a:lnTo>
                <a:lnTo>
                  <a:pt x="390" y="240"/>
                </a:lnTo>
                <a:lnTo>
                  <a:pt x="258" y="336"/>
                </a:lnTo>
                <a:lnTo>
                  <a:pt x="162" y="456"/>
                </a:lnTo>
                <a:lnTo>
                  <a:pt x="78" y="576"/>
                </a:lnTo>
                <a:lnTo>
                  <a:pt x="36" y="690"/>
                </a:lnTo>
                <a:lnTo>
                  <a:pt x="6" y="792"/>
                </a:lnTo>
                <a:lnTo>
                  <a:pt x="0" y="894"/>
                </a:lnTo>
                <a:lnTo>
                  <a:pt x="1584" y="918"/>
                </a:lnTo>
                <a:lnTo>
                  <a:pt x="1938" y="480"/>
                </a:lnTo>
                <a:lnTo>
                  <a:pt x="2058" y="204"/>
                </a:lnTo>
                <a:lnTo>
                  <a:pt x="1938" y="114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49" name="Freeform 3"/>
          <p:cNvSpPr>
            <a:spLocks/>
          </p:cNvSpPr>
          <p:nvPr/>
        </p:nvSpPr>
        <p:spPr bwMode="gray">
          <a:xfrm>
            <a:off x="2861088" y="3369492"/>
            <a:ext cx="2215059" cy="1024219"/>
          </a:xfrm>
          <a:custGeom>
            <a:avLst/>
            <a:gdLst>
              <a:gd name="T0" fmla="*/ 2147483647 w 2058"/>
              <a:gd name="T1" fmla="*/ 2147483647 h 918"/>
              <a:gd name="T2" fmla="*/ 2147483647 w 2058"/>
              <a:gd name="T3" fmla="*/ 2147483647 h 918"/>
              <a:gd name="T4" fmla="*/ 2147483647 w 2058"/>
              <a:gd name="T5" fmla="*/ 2147483647 h 918"/>
              <a:gd name="T6" fmla="*/ 2147483647 w 2058"/>
              <a:gd name="T7" fmla="*/ 0 h 918"/>
              <a:gd name="T8" fmla="*/ 2147483647 w 2058"/>
              <a:gd name="T9" fmla="*/ 0 h 918"/>
              <a:gd name="T10" fmla="*/ 2147483647 w 2058"/>
              <a:gd name="T11" fmla="*/ 2147483647 h 918"/>
              <a:gd name="T12" fmla="*/ 2147483647 w 2058"/>
              <a:gd name="T13" fmla="*/ 2147483647 h 918"/>
              <a:gd name="T14" fmla="*/ 2147483647 w 2058"/>
              <a:gd name="T15" fmla="*/ 2147483647 h 918"/>
              <a:gd name="T16" fmla="*/ 2147483647 w 2058"/>
              <a:gd name="T17" fmla="*/ 2147483647 h 918"/>
              <a:gd name="T18" fmla="*/ 2147483647 w 2058"/>
              <a:gd name="T19" fmla="*/ 2147483647 h 918"/>
              <a:gd name="T20" fmla="*/ 2147483647 w 2058"/>
              <a:gd name="T21" fmla="*/ 2147483647 h 918"/>
              <a:gd name="T22" fmla="*/ 2147483647 w 2058"/>
              <a:gd name="T23" fmla="*/ 2147483647 h 918"/>
              <a:gd name="T24" fmla="*/ 2147483647 w 2058"/>
              <a:gd name="T25" fmla="*/ 2147483647 h 918"/>
              <a:gd name="T26" fmla="*/ 2147483647 w 2058"/>
              <a:gd name="T27" fmla="*/ 2147483647 h 918"/>
              <a:gd name="T28" fmla="*/ 2147483647 w 2058"/>
              <a:gd name="T29" fmla="*/ 2147483647 h 918"/>
              <a:gd name="T30" fmla="*/ 0 w 2058"/>
              <a:gd name="T31" fmla="*/ 2147483647 h 918"/>
              <a:gd name="T32" fmla="*/ 2147483647 w 2058"/>
              <a:gd name="T33" fmla="*/ 2147483647 h 918"/>
              <a:gd name="T34" fmla="*/ 2147483647 w 2058"/>
              <a:gd name="T35" fmla="*/ 2147483647 h 918"/>
              <a:gd name="T36" fmla="*/ 2147483647 w 2058"/>
              <a:gd name="T37" fmla="*/ 2147483647 h 918"/>
              <a:gd name="T38" fmla="*/ 2147483647 w 2058"/>
              <a:gd name="T39" fmla="*/ 2147483647 h 9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58"/>
              <a:gd name="T61" fmla="*/ 0 h 918"/>
              <a:gd name="T62" fmla="*/ 2058 w 2058"/>
              <a:gd name="T63" fmla="*/ 918 h 91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58" h="918">
                <a:moveTo>
                  <a:pt x="1938" y="114"/>
                </a:moveTo>
                <a:lnTo>
                  <a:pt x="1722" y="48"/>
                </a:lnTo>
                <a:lnTo>
                  <a:pt x="1518" y="12"/>
                </a:lnTo>
                <a:lnTo>
                  <a:pt x="1368" y="0"/>
                </a:lnTo>
                <a:lnTo>
                  <a:pt x="1194" y="0"/>
                </a:lnTo>
                <a:lnTo>
                  <a:pt x="1014" y="12"/>
                </a:lnTo>
                <a:lnTo>
                  <a:pt x="864" y="42"/>
                </a:lnTo>
                <a:lnTo>
                  <a:pt x="678" y="96"/>
                </a:lnTo>
                <a:lnTo>
                  <a:pt x="534" y="150"/>
                </a:lnTo>
                <a:lnTo>
                  <a:pt x="390" y="240"/>
                </a:lnTo>
                <a:lnTo>
                  <a:pt x="258" y="336"/>
                </a:lnTo>
                <a:lnTo>
                  <a:pt x="162" y="456"/>
                </a:lnTo>
                <a:lnTo>
                  <a:pt x="78" y="576"/>
                </a:lnTo>
                <a:lnTo>
                  <a:pt x="36" y="690"/>
                </a:lnTo>
                <a:lnTo>
                  <a:pt x="6" y="792"/>
                </a:lnTo>
                <a:lnTo>
                  <a:pt x="0" y="894"/>
                </a:lnTo>
                <a:lnTo>
                  <a:pt x="1584" y="918"/>
                </a:lnTo>
                <a:lnTo>
                  <a:pt x="1938" y="480"/>
                </a:lnTo>
                <a:lnTo>
                  <a:pt x="2058" y="204"/>
                </a:lnTo>
                <a:lnTo>
                  <a:pt x="1938" y="114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50" name="Arc 5"/>
          <p:cNvSpPr>
            <a:spLocks/>
          </p:cNvSpPr>
          <p:nvPr/>
        </p:nvSpPr>
        <p:spPr bwMode="gray">
          <a:xfrm rot="359750" flipH="1">
            <a:off x="4783773" y="2765240"/>
            <a:ext cx="1822344" cy="1092788"/>
          </a:xfrm>
          <a:custGeom>
            <a:avLst/>
            <a:gdLst>
              <a:gd name="T0" fmla="*/ 0 w 32077"/>
              <a:gd name="T1" fmla="*/ 2147483647 h 21600"/>
              <a:gd name="T2" fmla="*/ 2147483647 w 32077"/>
              <a:gd name="T3" fmla="*/ 2147483647 h 21600"/>
              <a:gd name="T4" fmla="*/ 2147483647 w 32077"/>
              <a:gd name="T5" fmla="*/ 2147483647 h 21600"/>
              <a:gd name="T6" fmla="*/ 0 60000 65536"/>
              <a:gd name="T7" fmla="*/ 0 60000 65536"/>
              <a:gd name="T8" fmla="*/ 0 60000 65536"/>
              <a:gd name="T9" fmla="*/ 0 w 32077"/>
              <a:gd name="T10" fmla="*/ 0 h 21600"/>
              <a:gd name="T11" fmla="*/ 32077 w 3207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2077" h="21600" fill="none" extrusionOk="0">
                <a:moveTo>
                  <a:pt x="-1" y="2716"/>
                </a:moveTo>
                <a:cubicBezTo>
                  <a:pt x="3208" y="934"/>
                  <a:pt x="6817" y="-1"/>
                  <a:pt x="10487" y="0"/>
                </a:cubicBezTo>
                <a:cubicBezTo>
                  <a:pt x="22165" y="0"/>
                  <a:pt x="31728" y="9282"/>
                  <a:pt x="32077" y="20954"/>
                </a:cubicBezTo>
              </a:path>
              <a:path w="32077" h="21600" stroke="0" extrusionOk="0">
                <a:moveTo>
                  <a:pt x="-1" y="2716"/>
                </a:moveTo>
                <a:cubicBezTo>
                  <a:pt x="3208" y="934"/>
                  <a:pt x="6817" y="-1"/>
                  <a:pt x="10487" y="0"/>
                </a:cubicBezTo>
                <a:cubicBezTo>
                  <a:pt x="22165" y="0"/>
                  <a:pt x="31728" y="9282"/>
                  <a:pt x="32077" y="20954"/>
                </a:cubicBezTo>
                <a:lnTo>
                  <a:pt x="10487" y="21600"/>
                </a:lnTo>
                <a:lnTo>
                  <a:pt x="-1" y="2716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51" name="Rectangle 11"/>
          <p:cNvSpPr>
            <a:spLocks noChangeArrowheads="1"/>
          </p:cNvSpPr>
          <p:nvPr/>
        </p:nvSpPr>
        <p:spPr bwMode="gray">
          <a:xfrm>
            <a:off x="1741166" y="4235145"/>
            <a:ext cx="4845050" cy="176560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8" tIns="45670" rIns="91338" bIns="45670" anchor="ctr"/>
          <a:lstStyle/>
          <a:p>
            <a:pPr defTabSz="911225"/>
            <a:endParaRPr lang="de-DE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2" name="Freeform 12"/>
          <p:cNvSpPr>
            <a:spLocks/>
          </p:cNvSpPr>
          <p:nvPr/>
        </p:nvSpPr>
        <p:spPr bwMode="gray">
          <a:xfrm>
            <a:off x="1766717" y="1989000"/>
            <a:ext cx="5328001" cy="3998962"/>
          </a:xfrm>
          <a:custGeom>
            <a:avLst/>
            <a:gdLst>
              <a:gd name="T0" fmla="*/ 0 w 5152"/>
              <a:gd name="T1" fmla="*/ 0 h 2720"/>
              <a:gd name="T2" fmla="*/ 0 w 5152"/>
              <a:gd name="T3" fmla="*/ 2147483647 h 2720"/>
              <a:gd name="T4" fmla="*/ 2147483647 w 5152"/>
              <a:gd name="T5" fmla="*/ 2147483647 h 2720"/>
              <a:gd name="T6" fmla="*/ 0 60000 65536"/>
              <a:gd name="T7" fmla="*/ 0 60000 65536"/>
              <a:gd name="T8" fmla="*/ 0 60000 65536"/>
              <a:gd name="T9" fmla="*/ 0 w 5152"/>
              <a:gd name="T10" fmla="*/ 0 h 2720"/>
              <a:gd name="T11" fmla="*/ 5152 w 5152"/>
              <a:gd name="T12" fmla="*/ 2720 h 272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152" h="2720">
                <a:moveTo>
                  <a:pt x="0" y="0"/>
                </a:moveTo>
                <a:lnTo>
                  <a:pt x="0" y="2720"/>
                </a:lnTo>
                <a:lnTo>
                  <a:pt x="5152" y="272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53" name="Arc 20"/>
          <p:cNvSpPr>
            <a:spLocks/>
          </p:cNvSpPr>
          <p:nvPr/>
        </p:nvSpPr>
        <p:spPr bwMode="gray">
          <a:xfrm rot="60000" flipH="1">
            <a:off x="1774349" y="3971454"/>
            <a:ext cx="1703870" cy="950223"/>
          </a:xfrm>
          <a:custGeom>
            <a:avLst/>
            <a:gdLst>
              <a:gd name="T0" fmla="*/ 0 w 24133"/>
              <a:gd name="T1" fmla="*/ 2147483647 h 22528"/>
              <a:gd name="T2" fmla="*/ 2147483647 w 24133"/>
              <a:gd name="T3" fmla="*/ 2147483647 h 22528"/>
              <a:gd name="T4" fmla="*/ 2147483647 w 24133"/>
              <a:gd name="T5" fmla="*/ 2147483647 h 22528"/>
              <a:gd name="T6" fmla="*/ 0 60000 65536"/>
              <a:gd name="T7" fmla="*/ 0 60000 65536"/>
              <a:gd name="T8" fmla="*/ 0 60000 65536"/>
              <a:gd name="T9" fmla="*/ 0 w 24133"/>
              <a:gd name="T10" fmla="*/ 0 h 22528"/>
              <a:gd name="T11" fmla="*/ 24133 w 24133"/>
              <a:gd name="T12" fmla="*/ 22528 h 225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133" h="22528" fill="none" extrusionOk="0">
                <a:moveTo>
                  <a:pt x="0" y="149"/>
                </a:moveTo>
                <a:cubicBezTo>
                  <a:pt x="840" y="49"/>
                  <a:pt x="1686" y="-1"/>
                  <a:pt x="2533" y="0"/>
                </a:cubicBezTo>
                <a:cubicBezTo>
                  <a:pt x="14462" y="0"/>
                  <a:pt x="24133" y="9670"/>
                  <a:pt x="24133" y="21600"/>
                </a:cubicBezTo>
                <a:cubicBezTo>
                  <a:pt x="24133" y="21909"/>
                  <a:pt x="24126" y="22218"/>
                  <a:pt x="24113" y="22528"/>
                </a:cubicBezTo>
              </a:path>
              <a:path w="24133" h="22528" stroke="0" extrusionOk="0">
                <a:moveTo>
                  <a:pt x="0" y="149"/>
                </a:moveTo>
                <a:cubicBezTo>
                  <a:pt x="840" y="49"/>
                  <a:pt x="1686" y="-1"/>
                  <a:pt x="2533" y="0"/>
                </a:cubicBezTo>
                <a:cubicBezTo>
                  <a:pt x="14462" y="0"/>
                  <a:pt x="24133" y="9670"/>
                  <a:pt x="24133" y="21600"/>
                </a:cubicBezTo>
                <a:cubicBezTo>
                  <a:pt x="24133" y="21909"/>
                  <a:pt x="24126" y="22218"/>
                  <a:pt x="24113" y="22528"/>
                </a:cubicBezTo>
                <a:lnTo>
                  <a:pt x="2533" y="21600"/>
                </a:lnTo>
                <a:lnTo>
                  <a:pt x="0" y="14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56" name="Textfeld 7"/>
          <p:cNvSpPr txBox="1"/>
          <p:nvPr/>
        </p:nvSpPr>
        <p:spPr bwMode="gray">
          <a:xfrm>
            <a:off x="2424363" y="3937605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0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/>
              <a:t>1</a:t>
            </a:r>
          </a:p>
        </p:txBody>
      </p:sp>
      <p:sp>
        <p:nvSpPr>
          <p:cNvPr id="57" name="Arc 9"/>
          <p:cNvSpPr>
            <a:spLocks/>
          </p:cNvSpPr>
          <p:nvPr/>
        </p:nvSpPr>
        <p:spPr bwMode="gray">
          <a:xfrm rot="60000" flipH="1">
            <a:off x="3482052" y="3093619"/>
            <a:ext cx="1704653" cy="949939"/>
          </a:xfrm>
          <a:custGeom>
            <a:avLst/>
            <a:gdLst>
              <a:gd name="T0" fmla="*/ 0 w 24133"/>
              <a:gd name="T1" fmla="*/ 2147483647 h 22528"/>
              <a:gd name="T2" fmla="*/ 2147483647 w 24133"/>
              <a:gd name="T3" fmla="*/ 2147483647 h 22528"/>
              <a:gd name="T4" fmla="*/ 2147483647 w 24133"/>
              <a:gd name="T5" fmla="*/ 2147483647 h 22528"/>
              <a:gd name="T6" fmla="*/ 0 60000 65536"/>
              <a:gd name="T7" fmla="*/ 0 60000 65536"/>
              <a:gd name="T8" fmla="*/ 0 60000 65536"/>
              <a:gd name="T9" fmla="*/ 0 w 24133"/>
              <a:gd name="T10" fmla="*/ 0 h 22528"/>
              <a:gd name="T11" fmla="*/ 24133 w 24133"/>
              <a:gd name="T12" fmla="*/ 22528 h 225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133" h="22528" fill="none" extrusionOk="0">
                <a:moveTo>
                  <a:pt x="0" y="149"/>
                </a:moveTo>
                <a:cubicBezTo>
                  <a:pt x="840" y="49"/>
                  <a:pt x="1686" y="-1"/>
                  <a:pt x="2533" y="0"/>
                </a:cubicBezTo>
                <a:cubicBezTo>
                  <a:pt x="14462" y="0"/>
                  <a:pt x="24133" y="9670"/>
                  <a:pt x="24133" y="21600"/>
                </a:cubicBezTo>
                <a:cubicBezTo>
                  <a:pt x="24133" y="21909"/>
                  <a:pt x="24126" y="22218"/>
                  <a:pt x="24113" y="22528"/>
                </a:cubicBezTo>
              </a:path>
              <a:path w="24133" h="22528" stroke="0" extrusionOk="0">
                <a:moveTo>
                  <a:pt x="0" y="149"/>
                </a:moveTo>
                <a:cubicBezTo>
                  <a:pt x="840" y="49"/>
                  <a:pt x="1686" y="-1"/>
                  <a:pt x="2533" y="0"/>
                </a:cubicBezTo>
                <a:cubicBezTo>
                  <a:pt x="14462" y="0"/>
                  <a:pt x="24133" y="9670"/>
                  <a:pt x="24133" y="21600"/>
                </a:cubicBezTo>
                <a:cubicBezTo>
                  <a:pt x="24133" y="21909"/>
                  <a:pt x="24126" y="22218"/>
                  <a:pt x="24113" y="22528"/>
                </a:cubicBezTo>
                <a:lnTo>
                  <a:pt x="2533" y="21600"/>
                </a:lnTo>
                <a:lnTo>
                  <a:pt x="0" y="14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60" name="Textfeld 7"/>
          <p:cNvSpPr txBox="1"/>
          <p:nvPr/>
        </p:nvSpPr>
        <p:spPr bwMode="gray">
          <a:xfrm>
            <a:off x="4185686" y="3053234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61" name="Arc 9"/>
          <p:cNvSpPr>
            <a:spLocks/>
          </p:cNvSpPr>
          <p:nvPr/>
        </p:nvSpPr>
        <p:spPr bwMode="gray">
          <a:xfrm rot="60000" flipH="1">
            <a:off x="5193262" y="2207879"/>
            <a:ext cx="1704653" cy="916229"/>
          </a:xfrm>
          <a:custGeom>
            <a:avLst/>
            <a:gdLst>
              <a:gd name="T0" fmla="*/ 0 w 24133"/>
              <a:gd name="T1" fmla="*/ 2147483647 h 22528"/>
              <a:gd name="T2" fmla="*/ 2147483647 w 24133"/>
              <a:gd name="T3" fmla="*/ 2147483647 h 22528"/>
              <a:gd name="T4" fmla="*/ 2147483647 w 24133"/>
              <a:gd name="T5" fmla="*/ 2147483647 h 22528"/>
              <a:gd name="T6" fmla="*/ 0 60000 65536"/>
              <a:gd name="T7" fmla="*/ 0 60000 65536"/>
              <a:gd name="T8" fmla="*/ 0 60000 65536"/>
              <a:gd name="T9" fmla="*/ 0 w 24133"/>
              <a:gd name="T10" fmla="*/ 0 h 22528"/>
              <a:gd name="T11" fmla="*/ 24133 w 24133"/>
              <a:gd name="T12" fmla="*/ 22528 h 225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133" h="22528" fill="none" extrusionOk="0">
                <a:moveTo>
                  <a:pt x="0" y="149"/>
                </a:moveTo>
                <a:cubicBezTo>
                  <a:pt x="840" y="49"/>
                  <a:pt x="1686" y="-1"/>
                  <a:pt x="2533" y="0"/>
                </a:cubicBezTo>
                <a:cubicBezTo>
                  <a:pt x="14462" y="0"/>
                  <a:pt x="24133" y="9670"/>
                  <a:pt x="24133" y="21600"/>
                </a:cubicBezTo>
                <a:cubicBezTo>
                  <a:pt x="24133" y="21909"/>
                  <a:pt x="24126" y="22218"/>
                  <a:pt x="24113" y="22528"/>
                </a:cubicBezTo>
              </a:path>
              <a:path w="24133" h="22528" stroke="0" extrusionOk="0">
                <a:moveTo>
                  <a:pt x="0" y="149"/>
                </a:moveTo>
                <a:cubicBezTo>
                  <a:pt x="840" y="49"/>
                  <a:pt x="1686" y="-1"/>
                  <a:pt x="2533" y="0"/>
                </a:cubicBezTo>
                <a:cubicBezTo>
                  <a:pt x="14462" y="0"/>
                  <a:pt x="24133" y="9670"/>
                  <a:pt x="24133" y="21600"/>
                </a:cubicBezTo>
                <a:cubicBezTo>
                  <a:pt x="24133" y="21909"/>
                  <a:pt x="24126" y="22218"/>
                  <a:pt x="24113" y="22528"/>
                </a:cubicBezTo>
                <a:lnTo>
                  <a:pt x="2533" y="21600"/>
                </a:lnTo>
                <a:lnTo>
                  <a:pt x="0" y="14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lIns="91338" tIns="45670" rIns="91338" bIns="45670" anchor="ctr"/>
          <a:lstStyle/>
          <a:p>
            <a:pPr eaLnBrk="0" hangingPunct="0"/>
            <a:endParaRPr lang="en-GB" sz="1400" b="1"/>
          </a:p>
        </p:txBody>
      </p:sp>
      <p:sp>
        <p:nvSpPr>
          <p:cNvPr id="64" name="Textfeld 7"/>
          <p:cNvSpPr txBox="1"/>
          <p:nvPr/>
        </p:nvSpPr>
        <p:spPr bwMode="gray">
          <a:xfrm>
            <a:off x="5910069" y="2141215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</a:lstStyle>
          <a:p>
            <a:r>
              <a:rPr lang="en-US" dirty="0"/>
              <a:t>3</a:t>
            </a:r>
          </a:p>
        </p:txBody>
      </p:sp>
      <p:sp>
        <p:nvSpPr>
          <p:cNvPr id="82" name="Text Placeholder 7"/>
          <p:cNvSpPr txBox="1">
            <a:spLocks/>
          </p:cNvSpPr>
          <p:nvPr/>
        </p:nvSpPr>
        <p:spPr>
          <a:xfrm>
            <a:off x="3566713" y="3468599"/>
            <a:ext cx="1512000" cy="17799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/>
              <a:t>Sub</a:t>
            </a:r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0" lvl="2" indent="0">
              <a:buNone/>
            </a:pPr>
            <a:endParaRPr lang="de-DE" sz="1400" dirty="0"/>
          </a:p>
        </p:txBody>
      </p:sp>
      <p:sp>
        <p:nvSpPr>
          <p:cNvPr id="83" name="Text Placeholder 7"/>
          <p:cNvSpPr txBox="1">
            <a:spLocks/>
          </p:cNvSpPr>
          <p:nvPr/>
        </p:nvSpPr>
        <p:spPr>
          <a:xfrm>
            <a:off x="1838713" y="4332599"/>
            <a:ext cx="1512000" cy="17799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/>
              <a:t>Sub</a:t>
            </a:r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0" lvl="2" indent="0">
              <a:buNone/>
            </a:pPr>
            <a:endParaRPr lang="de-DE" sz="1400" dirty="0"/>
          </a:p>
        </p:txBody>
      </p:sp>
      <p:sp>
        <p:nvSpPr>
          <p:cNvPr id="84" name="Text Placeholder 7"/>
          <p:cNvSpPr txBox="1">
            <a:spLocks/>
          </p:cNvSpPr>
          <p:nvPr/>
        </p:nvSpPr>
        <p:spPr>
          <a:xfrm>
            <a:off x="5294713" y="2532599"/>
            <a:ext cx="1512000" cy="17799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/>
              <a:t>Sub</a:t>
            </a:r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0" lvl="2" indent="0">
              <a:buNone/>
            </a:pPr>
            <a:endParaRPr lang="de-DE" sz="1400" dirty="0"/>
          </a:p>
        </p:txBody>
      </p:sp>
      <p:sp>
        <p:nvSpPr>
          <p:cNvPr id="37" name="AutoShape 25"/>
          <p:cNvSpPr>
            <a:spLocks noChangeArrowheads="1"/>
          </p:cNvSpPr>
          <p:nvPr/>
        </p:nvSpPr>
        <p:spPr bwMode="gray">
          <a:xfrm>
            <a:off x="7392000" y="1400853"/>
            <a:ext cx="3024000" cy="460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83202" tIns="41602" rIns="83202" bIns="41602" anchor="ctr"/>
          <a:lstStyle/>
          <a:p>
            <a:pPr algn="ctr" defTabSz="892768"/>
            <a:endParaRPr lang="en-US" sz="1200" ker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0" name="Text Placeholder 7"/>
          <p:cNvSpPr txBox="1">
            <a:spLocks/>
          </p:cNvSpPr>
          <p:nvPr/>
        </p:nvSpPr>
        <p:spPr>
          <a:xfrm>
            <a:off x="7536000" y="5229000"/>
            <a:ext cx="2736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7188"/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r>
              <a:rPr lang="de-DE" sz="1600" dirty="0"/>
              <a:t> </a:t>
            </a:r>
            <a:r>
              <a:rPr lang="de-DE" sz="1600" dirty="0" err="1"/>
              <a:t>sadipscing</a:t>
            </a:r>
            <a:r>
              <a:rPr lang="de-DE" sz="1600" dirty="0"/>
              <a:t> </a:t>
            </a:r>
            <a:r>
              <a:rPr lang="de-DE" sz="1600" dirty="0" err="1"/>
              <a:t>elitr</a:t>
            </a:r>
            <a:endParaRPr lang="de-DE" sz="1600" dirty="0"/>
          </a:p>
        </p:txBody>
      </p:sp>
      <p:sp>
        <p:nvSpPr>
          <p:cNvPr id="62" name="Textfeld 15"/>
          <p:cNvSpPr txBox="1"/>
          <p:nvPr/>
        </p:nvSpPr>
        <p:spPr bwMode="gray">
          <a:xfrm>
            <a:off x="7448551" y="1413637"/>
            <a:ext cx="288290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400" b="1" dirty="0"/>
              <a:t>Key message</a:t>
            </a:r>
          </a:p>
        </p:txBody>
      </p:sp>
      <p:cxnSp>
        <p:nvCxnSpPr>
          <p:cNvPr id="63" name="Straight Connector 87"/>
          <p:cNvCxnSpPr/>
          <p:nvPr/>
        </p:nvCxnSpPr>
        <p:spPr bwMode="gray">
          <a:xfrm>
            <a:off x="7464001" y="1701637"/>
            <a:ext cx="288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87"/>
          <p:cNvCxnSpPr/>
          <p:nvPr/>
        </p:nvCxnSpPr>
        <p:spPr bwMode="gray">
          <a:xfrm>
            <a:off x="1776413" y="1701637"/>
            <a:ext cx="54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66" name="Text Placeholder 7"/>
          <p:cNvSpPr txBox="1">
            <a:spLocks/>
          </p:cNvSpPr>
          <p:nvPr/>
        </p:nvSpPr>
        <p:spPr>
          <a:xfrm>
            <a:off x="1776413" y="1413637"/>
            <a:ext cx="51840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Sub title</a:t>
            </a:r>
            <a:endParaRPr lang="de-DE" sz="1200" dirty="0"/>
          </a:p>
        </p:txBody>
      </p:sp>
      <p:sp>
        <p:nvSpPr>
          <p:cNvPr id="67" name="Chevron 43"/>
          <p:cNvSpPr/>
          <p:nvPr/>
        </p:nvSpPr>
        <p:spPr bwMode="gray">
          <a:xfrm rot="5400000">
            <a:off x="7032000" y="1485637"/>
            <a:ext cx="144000" cy="144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" charset="0"/>
            </a:endParaRPr>
          </a:p>
        </p:txBody>
      </p:sp>
      <p:sp>
        <p:nvSpPr>
          <p:cNvPr id="68" name="Text Placeholder 7"/>
          <p:cNvSpPr txBox="1">
            <a:spLocks/>
          </p:cNvSpPr>
          <p:nvPr/>
        </p:nvSpPr>
        <p:spPr>
          <a:xfrm>
            <a:off x="7608000" y="1845637"/>
            <a:ext cx="2808000" cy="24211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177800" lvl="2" indent="-177800"/>
            <a:endParaRPr lang="de-DE" sz="1400" dirty="0"/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  <a:p>
            <a:pPr marL="177800" lvl="2" indent="-177800"/>
            <a:endParaRPr lang="de-DE" sz="1400" dirty="0"/>
          </a:p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l</a:t>
            </a:r>
          </a:p>
        </p:txBody>
      </p:sp>
      <p:sp>
        <p:nvSpPr>
          <p:cNvPr id="69" name="Textfeld 7"/>
          <p:cNvSpPr txBox="1"/>
          <p:nvPr/>
        </p:nvSpPr>
        <p:spPr bwMode="gray">
          <a:xfrm>
            <a:off x="7439418" y="2709638"/>
            <a:ext cx="248400" cy="24840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70" name="Textfeld 7"/>
          <p:cNvSpPr txBox="1"/>
          <p:nvPr/>
        </p:nvSpPr>
        <p:spPr bwMode="gray">
          <a:xfrm>
            <a:off x="7439418" y="3573638"/>
            <a:ext cx="248400" cy="24840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71" name="Textfeld 7"/>
          <p:cNvSpPr txBox="1"/>
          <p:nvPr/>
        </p:nvSpPr>
        <p:spPr bwMode="gray">
          <a:xfrm>
            <a:off x="7439418" y="1845638"/>
            <a:ext cx="248400" cy="24840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39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503525089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6" name="Rectangle 6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36743" y="3489165"/>
            <a:ext cx="2412000" cy="36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82813" tIns="41405" rIns="82813" bIns="41405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  <a:ea typeface="ＭＳ Ｐゴシック" pitchFamily="34" charset="-128"/>
              </a:rPr>
              <a:t>Week 2</a:t>
            </a:r>
          </a:p>
        </p:txBody>
      </p:sp>
      <p:sp>
        <p:nvSpPr>
          <p:cNvPr id="7" name="Rectangle 6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263003" y="3489166"/>
            <a:ext cx="2412000" cy="36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82813" tIns="41405" rIns="82813" bIns="41405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  <a:ea typeface="ＭＳ Ｐゴシック" pitchFamily="34" charset="-128"/>
              </a:rPr>
              <a:t>Week 3</a:t>
            </a:r>
          </a:p>
        </p:txBody>
      </p:sp>
      <p:sp>
        <p:nvSpPr>
          <p:cNvPr id="8" name="Rectangle 6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689263" y="3489166"/>
            <a:ext cx="2412000" cy="36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82813" tIns="41405" rIns="82813" bIns="41405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  <a:ea typeface="ＭＳ Ｐゴシック" pitchFamily="34" charset="-128"/>
              </a:rPr>
              <a:t>Week 4</a:t>
            </a:r>
          </a:p>
        </p:txBody>
      </p:sp>
      <p:sp>
        <p:nvSpPr>
          <p:cNvPr id="9" name="Rectangle 6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115529" y="3489166"/>
            <a:ext cx="1319113" cy="360000"/>
          </a:xfrm>
          <a:prstGeom prst="homePlate">
            <a:avLst>
              <a:gd name="adj" fmla="val 29297"/>
            </a:avLst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none" lIns="82813" tIns="41405" rIns="82813" bIns="41405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  <a:ea typeface="ＭＳ Ｐゴシック" pitchFamily="34" charset="-128"/>
              </a:rPr>
              <a:t>Week 5</a:t>
            </a:r>
          </a:p>
        </p:txBody>
      </p:sp>
      <p:sp>
        <p:nvSpPr>
          <p:cNvPr id="10" name="Flowchart: Decision 7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71208" y="3741165"/>
            <a:ext cx="216000" cy="216000"/>
          </a:xfrm>
          <a:prstGeom prst="flowChartDecision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91411" tIns="45706" rIns="91411" bIns="45706" anchor="ctr"/>
          <a:lstStyle/>
          <a:p>
            <a:pPr>
              <a:defRPr/>
            </a:pPr>
            <a:endParaRPr lang="en-US" sz="1400" dirty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11" name="Flowchart: Decision 7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8640320" y="3357637"/>
            <a:ext cx="216000" cy="216000"/>
          </a:xfrm>
          <a:prstGeom prst="flowChartDecision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91411" tIns="45706" rIns="91411" bIns="45706" anchor="ctr"/>
          <a:lstStyle/>
          <a:p>
            <a:endParaRPr lang="de-DE" sz="14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2" name="Flowchart: Decision 7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998009" y="3741165"/>
            <a:ext cx="216000" cy="216000"/>
          </a:xfrm>
          <a:prstGeom prst="flowChartDecision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91411" tIns="45706" rIns="91411" bIns="45706" anchor="ctr"/>
          <a:lstStyle/>
          <a:p>
            <a:pPr>
              <a:defRPr/>
            </a:pPr>
            <a:endParaRPr lang="en-US" sz="1400" dirty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13" name="Flowchart: Decision 7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543477" y="3741165"/>
            <a:ext cx="216000" cy="216000"/>
          </a:xfrm>
          <a:prstGeom prst="flowChartDecision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91411" tIns="45706" rIns="91411" bIns="45706" anchor="ctr"/>
          <a:lstStyle/>
          <a:p>
            <a:pPr>
              <a:defRPr/>
            </a:pPr>
            <a:endParaRPr lang="en-US" sz="1400" dirty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14" name="Flowchart: Decision 7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35469" y="3357637"/>
            <a:ext cx="216000" cy="216000"/>
          </a:xfrm>
          <a:prstGeom prst="flowChartDecision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91411" tIns="45706" rIns="91411" bIns="45706" anchor="ctr"/>
          <a:lstStyle/>
          <a:p>
            <a:pPr>
              <a:defRPr/>
            </a:pPr>
            <a:endParaRPr lang="en-US" sz="1400" dirty="0">
              <a:solidFill>
                <a:srgbClr val="000000"/>
              </a:solidFill>
              <a:cs typeface="ＭＳ Ｐゴシック"/>
            </a:endParaRPr>
          </a:p>
        </p:txBody>
      </p:sp>
      <p:sp>
        <p:nvSpPr>
          <p:cNvPr id="15" name="Flowchart: Decision 7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228414" y="3357637"/>
            <a:ext cx="216000" cy="216000"/>
          </a:xfrm>
          <a:prstGeom prst="flowChartDecision">
            <a:avLst/>
          </a:prstGeom>
          <a:solidFill>
            <a:schemeClr val="tx2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91411" tIns="45706" rIns="91411" bIns="45706" anchor="ctr"/>
          <a:lstStyle/>
          <a:p>
            <a:pPr>
              <a:defRPr/>
            </a:pPr>
            <a:endParaRPr lang="en-US" sz="1400" dirty="0">
              <a:solidFill>
                <a:srgbClr val="000000"/>
              </a:solidFill>
              <a:cs typeface="ＭＳ Ｐゴシック"/>
            </a:endParaRPr>
          </a:p>
        </p:txBody>
      </p:sp>
      <p:cxnSp>
        <p:nvCxnSpPr>
          <p:cNvPr id="16" name="Elbow Connector 8"/>
          <p:cNvCxnSpPr>
            <a:stCxn id="58" idx="2"/>
            <a:endCxn id="14" idx="0"/>
          </p:cNvCxnSpPr>
          <p:nvPr/>
        </p:nvCxnSpPr>
        <p:spPr bwMode="auto">
          <a:xfrm rot="16200000" flipH="1">
            <a:off x="3399734" y="2813907"/>
            <a:ext cx="504000" cy="583469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Elbow Connector 37"/>
          <p:cNvCxnSpPr>
            <a:stCxn id="10" idx="2"/>
            <a:endCxn id="69" idx="0"/>
          </p:cNvCxnSpPr>
          <p:nvPr/>
        </p:nvCxnSpPr>
        <p:spPr bwMode="auto">
          <a:xfrm rot="16200000" flipH="1">
            <a:off x="2399368" y="3837005"/>
            <a:ext cx="552472" cy="7927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Elbow Connector 38"/>
          <p:cNvCxnSpPr>
            <a:stCxn id="13" idx="2"/>
            <a:endCxn id="66" idx="0"/>
          </p:cNvCxnSpPr>
          <p:nvPr/>
        </p:nvCxnSpPr>
        <p:spPr bwMode="auto">
          <a:xfrm rot="16200000" flipH="1">
            <a:off x="5025502" y="3583144"/>
            <a:ext cx="552472" cy="130052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Elbow Connector 41"/>
          <p:cNvCxnSpPr>
            <a:stCxn id="53" idx="2"/>
            <a:endCxn id="15" idx="0"/>
          </p:cNvCxnSpPr>
          <p:nvPr/>
        </p:nvCxnSpPr>
        <p:spPr bwMode="auto">
          <a:xfrm rot="16200000" flipH="1">
            <a:off x="6036207" y="3057430"/>
            <a:ext cx="504000" cy="9641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Elbow Connector 42"/>
          <p:cNvCxnSpPr>
            <a:stCxn id="12" idx="2"/>
            <a:endCxn id="72" idx="0"/>
          </p:cNvCxnSpPr>
          <p:nvPr/>
        </p:nvCxnSpPr>
        <p:spPr bwMode="auto">
          <a:xfrm rot="16200000" flipH="1">
            <a:off x="7692768" y="3370410"/>
            <a:ext cx="552472" cy="172599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Elbow Connector 43"/>
          <p:cNvCxnSpPr>
            <a:stCxn id="11" idx="2"/>
            <a:endCxn id="61" idx="2"/>
          </p:cNvCxnSpPr>
          <p:nvPr/>
        </p:nvCxnSpPr>
        <p:spPr bwMode="auto">
          <a:xfrm rot="5400000" flipH="1" flipV="1">
            <a:off x="8682160" y="2919797"/>
            <a:ext cx="504000" cy="3716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7" name="Gruppieren 36"/>
          <p:cNvGrpSpPr/>
          <p:nvPr/>
        </p:nvGrpSpPr>
        <p:grpSpPr>
          <a:xfrm>
            <a:off x="4944000" y="1414279"/>
            <a:ext cx="2592000" cy="1439363"/>
            <a:chOff x="3420000" y="1269000"/>
            <a:chExt cx="2592000" cy="1439363"/>
          </a:xfrm>
        </p:grpSpPr>
        <p:sp>
          <p:nvSpPr>
            <p:cNvPr id="52" name="Text Placeholder 7"/>
            <p:cNvSpPr txBox="1">
              <a:spLocks/>
            </p:cNvSpPr>
            <p:nvPr/>
          </p:nvSpPr>
          <p:spPr>
            <a:xfrm>
              <a:off x="3420000" y="1269000"/>
              <a:ext cx="2592000" cy="3225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Sub</a:t>
              </a:r>
              <a:endParaRPr lang="de-DE" sz="1600" dirty="0"/>
            </a:p>
          </p:txBody>
        </p:sp>
        <p:sp>
          <p:nvSpPr>
            <p:cNvPr id="53" name="Text Placeholder 7"/>
            <p:cNvSpPr txBox="1">
              <a:spLocks/>
            </p:cNvSpPr>
            <p:nvPr/>
          </p:nvSpPr>
          <p:spPr>
            <a:xfrm>
              <a:off x="3420000" y="1591500"/>
              <a:ext cx="2592000" cy="1116863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4625" lvl="2" indent="-174625"/>
              <a:r>
                <a:rPr lang="de-DE" sz="1400" dirty="0" err="1"/>
                <a:t>Lorem</a:t>
              </a:r>
              <a:r>
                <a:rPr lang="de-DE" sz="1400" dirty="0"/>
                <a:t> </a:t>
              </a:r>
              <a:r>
                <a:rPr lang="de-DE" sz="1400" dirty="0" err="1"/>
                <a:t>ipsum</a:t>
              </a:r>
              <a:r>
                <a:rPr lang="de-DE" sz="1400" dirty="0"/>
                <a:t> </a:t>
              </a:r>
              <a:r>
                <a:rPr lang="de-DE" sz="1400" dirty="0" err="1"/>
                <a:t>dolor</a:t>
              </a:r>
              <a:r>
                <a:rPr lang="de-DE" sz="1400" dirty="0"/>
                <a:t> </a:t>
              </a:r>
              <a:r>
                <a:rPr lang="de-DE" sz="1400" dirty="0" err="1"/>
                <a:t>sit</a:t>
              </a:r>
              <a:r>
                <a:rPr lang="de-DE" sz="1400" dirty="0"/>
                <a:t> </a:t>
              </a:r>
              <a:r>
                <a:rPr lang="de-DE" sz="1400" dirty="0" err="1"/>
                <a:t>amet</a:t>
              </a:r>
              <a:r>
                <a:rPr lang="de-DE" sz="1400" dirty="0"/>
                <a:t>, </a:t>
              </a:r>
              <a:r>
                <a:rPr lang="de-DE" sz="1400" dirty="0" err="1"/>
                <a:t>consetetur</a:t>
              </a:r>
              <a:r>
                <a:rPr lang="de-DE" sz="1400" dirty="0"/>
                <a:t> </a:t>
              </a:r>
              <a:r>
                <a:rPr lang="de-DE" sz="1400" dirty="0" err="1"/>
                <a:t>sadipscing</a:t>
              </a:r>
              <a:r>
                <a:rPr lang="de-DE" sz="1400" dirty="0"/>
                <a:t> </a:t>
              </a:r>
              <a:r>
                <a:rPr lang="de-DE" sz="1400" dirty="0" err="1"/>
                <a:t>elitr</a:t>
              </a:r>
              <a:r>
                <a:rPr lang="de-DE" sz="1400" dirty="0"/>
                <a:t>, </a:t>
              </a:r>
              <a:r>
                <a:rPr lang="de-DE" sz="1400" dirty="0" err="1"/>
                <a:t>sed</a:t>
              </a:r>
              <a:r>
                <a:rPr lang="de-DE" sz="1400" dirty="0"/>
                <a:t> </a:t>
              </a:r>
              <a:r>
                <a:rPr lang="de-DE" sz="1400" dirty="0" err="1"/>
                <a:t>diam</a:t>
              </a:r>
              <a:r>
                <a:rPr lang="de-DE" sz="1400" dirty="0"/>
                <a:t> </a:t>
              </a:r>
              <a:r>
                <a:rPr lang="de-DE" sz="1400" dirty="0" err="1"/>
                <a:t>nonumy</a:t>
              </a:r>
              <a:r>
                <a:rPr lang="de-DE" sz="1400" dirty="0"/>
                <a:t> </a:t>
              </a:r>
              <a:r>
                <a:rPr lang="de-DE" sz="1400" dirty="0" err="1"/>
                <a:t>eirmod</a:t>
              </a:r>
              <a:r>
                <a:rPr lang="de-DE" sz="1400" dirty="0"/>
                <a:t> </a:t>
              </a:r>
              <a:r>
                <a:rPr lang="de-DE" sz="1400" dirty="0" err="1"/>
                <a:t>tempor</a:t>
              </a:r>
              <a:r>
                <a:rPr lang="de-DE" sz="1400" dirty="0"/>
                <a:t> </a:t>
              </a:r>
              <a:r>
                <a:rPr lang="de-DE" sz="1400" dirty="0" err="1"/>
                <a:t>invidunt</a:t>
              </a:r>
              <a:r>
                <a:rPr lang="de-DE" sz="1400" dirty="0"/>
                <a:t> </a:t>
              </a:r>
              <a:r>
                <a:rPr lang="de-DE" sz="1400" dirty="0" err="1"/>
                <a:t>ut</a:t>
              </a:r>
              <a:r>
                <a:rPr lang="de-DE" sz="1400" dirty="0"/>
                <a:t> l</a:t>
              </a:r>
            </a:p>
            <a:p>
              <a:pPr marL="0" lvl="2" indent="0">
                <a:buNone/>
              </a:pPr>
              <a:endParaRPr lang="de-DE" sz="1400" dirty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2064000" y="1414279"/>
            <a:ext cx="2592000" cy="1439363"/>
            <a:chOff x="540000" y="1269000"/>
            <a:chExt cx="2592000" cy="1439363"/>
          </a:xfrm>
        </p:grpSpPr>
        <p:sp>
          <p:nvSpPr>
            <p:cNvPr id="57" name="Text Placeholder 7"/>
            <p:cNvSpPr txBox="1">
              <a:spLocks/>
            </p:cNvSpPr>
            <p:nvPr/>
          </p:nvSpPr>
          <p:spPr>
            <a:xfrm>
              <a:off x="540000" y="1269000"/>
              <a:ext cx="2592000" cy="3225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Sub</a:t>
              </a:r>
              <a:endParaRPr lang="de-DE" sz="1600" dirty="0"/>
            </a:p>
          </p:txBody>
        </p:sp>
        <p:sp>
          <p:nvSpPr>
            <p:cNvPr id="58" name="Text Placeholder 7"/>
            <p:cNvSpPr txBox="1">
              <a:spLocks/>
            </p:cNvSpPr>
            <p:nvPr/>
          </p:nvSpPr>
          <p:spPr>
            <a:xfrm>
              <a:off x="540000" y="1591500"/>
              <a:ext cx="2592000" cy="1116863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2" indent="-177800"/>
              <a:r>
                <a:rPr lang="de-DE" sz="1400" dirty="0" err="1"/>
                <a:t>Lorem</a:t>
              </a:r>
              <a:r>
                <a:rPr lang="de-DE" sz="1400" dirty="0"/>
                <a:t> </a:t>
              </a:r>
              <a:r>
                <a:rPr lang="de-DE" sz="1400" dirty="0" err="1"/>
                <a:t>ipsum</a:t>
              </a:r>
              <a:r>
                <a:rPr lang="de-DE" sz="1400" dirty="0"/>
                <a:t> </a:t>
              </a:r>
              <a:r>
                <a:rPr lang="de-DE" sz="1400" dirty="0" err="1"/>
                <a:t>dolor</a:t>
              </a:r>
              <a:r>
                <a:rPr lang="de-DE" sz="1400" dirty="0"/>
                <a:t> </a:t>
              </a:r>
              <a:r>
                <a:rPr lang="de-DE" sz="1400" dirty="0" err="1"/>
                <a:t>sit</a:t>
              </a:r>
              <a:r>
                <a:rPr lang="de-DE" sz="1400" dirty="0"/>
                <a:t> </a:t>
              </a:r>
              <a:r>
                <a:rPr lang="de-DE" sz="1400" dirty="0" err="1"/>
                <a:t>amet</a:t>
              </a:r>
              <a:r>
                <a:rPr lang="de-DE" sz="1400" dirty="0"/>
                <a:t>, </a:t>
              </a:r>
              <a:r>
                <a:rPr lang="de-DE" sz="1400" dirty="0" err="1"/>
                <a:t>consetetur</a:t>
              </a:r>
              <a:r>
                <a:rPr lang="de-DE" sz="1400" dirty="0"/>
                <a:t> </a:t>
              </a:r>
              <a:r>
                <a:rPr lang="de-DE" sz="1400" dirty="0" err="1"/>
                <a:t>sadipscing</a:t>
              </a:r>
              <a:r>
                <a:rPr lang="de-DE" sz="1400" dirty="0"/>
                <a:t> </a:t>
              </a:r>
              <a:r>
                <a:rPr lang="de-DE" sz="1400" dirty="0" err="1"/>
                <a:t>elitr</a:t>
              </a:r>
              <a:r>
                <a:rPr lang="de-DE" sz="1400" dirty="0"/>
                <a:t>, </a:t>
              </a:r>
              <a:r>
                <a:rPr lang="de-DE" sz="1400" dirty="0" err="1"/>
                <a:t>sed</a:t>
              </a:r>
              <a:r>
                <a:rPr lang="de-DE" sz="1400" dirty="0"/>
                <a:t> </a:t>
              </a:r>
              <a:r>
                <a:rPr lang="de-DE" sz="1400" dirty="0" err="1"/>
                <a:t>diam</a:t>
              </a:r>
              <a:r>
                <a:rPr lang="de-DE" sz="1400" dirty="0"/>
                <a:t> </a:t>
              </a:r>
              <a:r>
                <a:rPr lang="de-DE" sz="1400" dirty="0" err="1"/>
                <a:t>nonumy</a:t>
              </a:r>
              <a:r>
                <a:rPr lang="de-DE" sz="1400" dirty="0"/>
                <a:t> </a:t>
              </a:r>
              <a:r>
                <a:rPr lang="de-DE" sz="1400" dirty="0" err="1"/>
                <a:t>eirmod</a:t>
              </a:r>
              <a:r>
                <a:rPr lang="de-DE" sz="1400" dirty="0"/>
                <a:t> </a:t>
              </a:r>
              <a:r>
                <a:rPr lang="de-DE" sz="1400" dirty="0" err="1"/>
                <a:t>tempor</a:t>
              </a:r>
              <a:r>
                <a:rPr lang="de-DE" sz="1400" dirty="0"/>
                <a:t> </a:t>
              </a:r>
              <a:r>
                <a:rPr lang="de-DE" sz="1400" dirty="0" err="1"/>
                <a:t>invidunt</a:t>
              </a:r>
              <a:r>
                <a:rPr lang="de-DE" sz="1400" dirty="0"/>
                <a:t> </a:t>
              </a:r>
              <a:r>
                <a:rPr lang="de-DE" sz="1400" dirty="0" err="1"/>
                <a:t>ut</a:t>
              </a:r>
              <a:r>
                <a:rPr lang="de-DE" sz="1400" dirty="0"/>
                <a:t> l</a:t>
              </a:r>
            </a:p>
            <a:p>
              <a:pPr marL="0" lvl="2" indent="0">
                <a:buNone/>
              </a:pPr>
              <a:endParaRPr lang="de-DE" sz="1400" dirty="0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824000" y="1414279"/>
            <a:ext cx="2592000" cy="1439363"/>
            <a:chOff x="6300000" y="1269000"/>
            <a:chExt cx="2592000" cy="1439363"/>
          </a:xfrm>
        </p:grpSpPr>
        <p:sp>
          <p:nvSpPr>
            <p:cNvPr id="60" name="Text Placeholder 7"/>
            <p:cNvSpPr txBox="1">
              <a:spLocks/>
            </p:cNvSpPr>
            <p:nvPr/>
          </p:nvSpPr>
          <p:spPr>
            <a:xfrm>
              <a:off x="6300000" y="1269000"/>
              <a:ext cx="2592000" cy="322500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Sub</a:t>
              </a:r>
              <a:endParaRPr lang="de-DE" sz="1600" dirty="0"/>
            </a:p>
          </p:txBody>
        </p:sp>
        <p:sp>
          <p:nvSpPr>
            <p:cNvPr id="61" name="Text Placeholder 7"/>
            <p:cNvSpPr txBox="1">
              <a:spLocks/>
            </p:cNvSpPr>
            <p:nvPr/>
          </p:nvSpPr>
          <p:spPr>
            <a:xfrm>
              <a:off x="6300000" y="1591500"/>
              <a:ext cx="2592000" cy="1116863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2" indent="-177800"/>
              <a:r>
                <a:rPr lang="de-DE" sz="1400" dirty="0" err="1"/>
                <a:t>Lorem</a:t>
              </a:r>
              <a:r>
                <a:rPr lang="de-DE" sz="1400" dirty="0"/>
                <a:t> </a:t>
              </a:r>
              <a:r>
                <a:rPr lang="de-DE" sz="1400" dirty="0" err="1"/>
                <a:t>ipsum</a:t>
              </a:r>
              <a:r>
                <a:rPr lang="de-DE" sz="1400" dirty="0"/>
                <a:t> </a:t>
              </a:r>
              <a:r>
                <a:rPr lang="de-DE" sz="1400" dirty="0" err="1"/>
                <a:t>dolor</a:t>
              </a:r>
              <a:r>
                <a:rPr lang="de-DE" sz="1400" dirty="0"/>
                <a:t> </a:t>
              </a:r>
              <a:r>
                <a:rPr lang="de-DE" sz="1400" dirty="0" err="1"/>
                <a:t>sit</a:t>
              </a:r>
              <a:r>
                <a:rPr lang="de-DE" sz="1400" dirty="0"/>
                <a:t> </a:t>
              </a:r>
              <a:r>
                <a:rPr lang="de-DE" sz="1400" dirty="0" err="1"/>
                <a:t>amet</a:t>
              </a:r>
              <a:r>
                <a:rPr lang="de-DE" sz="1400" dirty="0"/>
                <a:t>, </a:t>
              </a:r>
              <a:r>
                <a:rPr lang="de-DE" sz="1400" dirty="0" err="1"/>
                <a:t>consetetur</a:t>
              </a:r>
              <a:r>
                <a:rPr lang="de-DE" sz="1400" dirty="0"/>
                <a:t> </a:t>
              </a:r>
              <a:r>
                <a:rPr lang="de-DE" sz="1400" dirty="0" err="1"/>
                <a:t>sadipscing</a:t>
              </a:r>
              <a:r>
                <a:rPr lang="de-DE" sz="1400" dirty="0"/>
                <a:t> </a:t>
              </a:r>
              <a:r>
                <a:rPr lang="de-DE" sz="1400" dirty="0" err="1"/>
                <a:t>elitr</a:t>
              </a:r>
              <a:r>
                <a:rPr lang="de-DE" sz="1400" dirty="0"/>
                <a:t>, </a:t>
              </a:r>
              <a:r>
                <a:rPr lang="de-DE" sz="1400" dirty="0" err="1"/>
                <a:t>sed</a:t>
              </a:r>
              <a:r>
                <a:rPr lang="de-DE" sz="1400" dirty="0"/>
                <a:t> </a:t>
              </a:r>
              <a:r>
                <a:rPr lang="de-DE" sz="1400" dirty="0" err="1"/>
                <a:t>diam</a:t>
              </a:r>
              <a:r>
                <a:rPr lang="de-DE" sz="1400" dirty="0"/>
                <a:t> </a:t>
              </a:r>
              <a:r>
                <a:rPr lang="de-DE" sz="1400" dirty="0" err="1"/>
                <a:t>nonumy</a:t>
              </a:r>
              <a:r>
                <a:rPr lang="de-DE" sz="1400" dirty="0"/>
                <a:t> </a:t>
              </a:r>
              <a:r>
                <a:rPr lang="de-DE" sz="1400" dirty="0" err="1"/>
                <a:t>eirmod</a:t>
              </a:r>
              <a:r>
                <a:rPr lang="de-DE" sz="1400" dirty="0"/>
                <a:t> </a:t>
              </a:r>
              <a:r>
                <a:rPr lang="de-DE" sz="1400" dirty="0" err="1"/>
                <a:t>tempor</a:t>
              </a:r>
              <a:r>
                <a:rPr lang="de-DE" sz="1400" dirty="0"/>
                <a:t> </a:t>
              </a:r>
              <a:r>
                <a:rPr lang="de-DE" sz="1400" dirty="0" err="1"/>
                <a:t>invidunt</a:t>
              </a:r>
              <a:r>
                <a:rPr lang="de-DE" sz="1400" dirty="0"/>
                <a:t> </a:t>
              </a:r>
              <a:r>
                <a:rPr lang="de-DE" sz="1400" dirty="0" err="1"/>
                <a:t>ut</a:t>
              </a:r>
              <a:r>
                <a:rPr lang="de-DE" sz="1400" dirty="0"/>
                <a:t> l</a:t>
              </a:r>
            </a:p>
            <a:p>
              <a:pPr marL="0" lvl="2" indent="0">
                <a:buNone/>
              </a:pPr>
              <a:endParaRPr lang="de-DE" sz="1400" dirty="0"/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4656000" y="4509642"/>
            <a:ext cx="2592000" cy="1439363"/>
            <a:chOff x="3132000" y="4509000"/>
            <a:chExt cx="2592000" cy="1439363"/>
          </a:xfrm>
        </p:grpSpPr>
        <p:sp>
          <p:nvSpPr>
            <p:cNvPr id="66" name="Text Placeholder 7"/>
            <p:cNvSpPr txBox="1">
              <a:spLocks/>
            </p:cNvSpPr>
            <p:nvPr/>
          </p:nvSpPr>
          <p:spPr>
            <a:xfrm>
              <a:off x="3132000" y="4509000"/>
              <a:ext cx="2592000" cy="3225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Sub</a:t>
              </a:r>
              <a:endParaRPr lang="de-DE" sz="1600" dirty="0"/>
            </a:p>
          </p:txBody>
        </p:sp>
        <p:sp>
          <p:nvSpPr>
            <p:cNvPr id="67" name="Text Placeholder 7"/>
            <p:cNvSpPr txBox="1">
              <a:spLocks/>
            </p:cNvSpPr>
            <p:nvPr/>
          </p:nvSpPr>
          <p:spPr>
            <a:xfrm>
              <a:off x="3132000" y="4831500"/>
              <a:ext cx="2592000" cy="1116863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2" indent="-177800"/>
              <a:r>
                <a:rPr lang="de-DE" sz="1400" dirty="0" err="1"/>
                <a:t>Lorem</a:t>
              </a:r>
              <a:r>
                <a:rPr lang="de-DE" sz="1400" dirty="0"/>
                <a:t> </a:t>
              </a:r>
              <a:r>
                <a:rPr lang="de-DE" sz="1400" dirty="0" err="1"/>
                <a:t>ipsum</a:t>
              </a:r>
              <a:r>
                <a:rPr lang="de-DE" sz="1400" dirty="0"/>
                <a:t> </a:t>
              </a:r>
              <a:r>
                <a:rPr lang="de-DE" sz="1400" dirty="0" err="1"/>
                <a:t>dolor</a:t>
              </a:r>
              <a:r>
                <a:rPr lang="de-DE" sz="1400" dirty="0"/>
                <a:t> </a:t>
              </a:r>
              <a:r>
                <a:rPr lang="de-DE" sz="1400" dirty="0" err="1"/>
                <a:t>sit</a:t>
              </a:r>
              <a:r>
                <a:rPr lang="de-DE" sz="1400" dirty="0"/>
                <a:t> </a:t>
              </a:r>
              <a:r>
                <a:rPr lang="de-DE" sz="1400" dirty="0" err="1"/>
                <a:t>amet</a:t>
              </a:r>
              <a:r>
                <a:rPr lang="de-DE" sz="1400" dirty="0"/>
                <a:t>, </a:t>
              </a:r>
              <a:r>
                <a:rPr lang="de-DE" sz="1400" dirty="0" err="1"/>
                <a:t>consetetur</a:t>
              </a:r>
              <a:r>
                <a:rPr lang="de-DE" sz="1400" dirty="0"/>
                <a:t> </a:t>
              </a:r>
              <a:r>
                <a:rPr lang="de-DE" sz="1400" dirty="0" err="1"/>
                <a:t>sadipscing</a:t>
              </a:r>
              <a:r>
                <a:rPr lang="de-DE" sz="1400" dirty="0"/>
                <a:t> </a:t>
              </a:r>
              <a:r>
                <a:rPr lang="de-DE" sz="1400" dirty="0" err="1"/>
                <a:t>elitr</a:t>
              </a:r>
              <a:r>
                <a:rPr lang="de-DE" sz="1400" dirty="0"/>
                <a:t>, </a:t>
              </a:r>
              <a:r>
                <a:rPr lang="de-DE" sz="1400" dirty="0" err="1"/>
                <a:t>sed</a:t>
              </a:r>
              <a:r>
                <a:rPr lang="de-DE" sz="1400" dirty="0"/>
                <a:t> </a:t>
              </a:r>
              <a:r>
                <a:rPr lang="de-DE" sz="1400" dirty="0" err="1"/>
                <a:t>diam</a:t>
              </a:r>
              <a:r>
                <a:rPr lang="de-DE" sz="1400" dirty="0"/>
                <a:t> </a:t>
              </a:r>
              <a:r>
                <a:rPr lang="de-DE" sz="1400" dirty="0" err="1"/>
                <a:t>nonumy</a:t>
              </a:r>
              <a:r>
                <a:rPr lang="de-DE" sz="1400" dirty="0"/>
                <a:t> </a:t>
              </a:r>
              <a:r>
                <a:rPr lang="de-DE" sz="1400" dirty="0" err="1"/>
                <a:t>eirmod</a:t>
              </a:r>
              <a:r>
                <a:rPr lang="de-DE" sz="1400" dirty="0"/>
                <a:t> </a:t>
              </a:r>
              <a:r>
                <a:rPr lang="de-DE" sz="1400" dirty="0" err="1"/>
                <a:t>tempor</a:t>
              </a:r>
              <a:r>
                <a:rPr lang="de-DE" sz="1400" dirty="0"/>
                <a:t> </a:t>
              </a:r>
              <a:r>
                <a:rPr lang="de-DE" sz="1400" dirty="0" err="1"/>
                <a:t>invidunt</a:t>
              </a:r>
              <a:r>
                <a:rPr lang="de-DE" sz="1400" dirty="0"/>
                <a:t> </a:t>
              </a:r>
              <a:r>
                <a:rPr lang="de-DE" sz="1400" dirty="0" err="1"/>
                <a:t>ut</a:t>
              </a:r>
              <a:r>
                <a:rPr lang="de-DE" sz="1400" dirty="0"/>
                <a:t> l</a:t>
              </a:r>
            </a:p>
            <a:p>
              <a:pPr marL="0" lvl="2" indent="0">
                <a:buNone/>
              </a:pPr>
              <a:endParaRPr lang="de-DE" sz="1400" dirty="0"/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776000" y="4509642"/>
            <a:ext cx="2592000" cy="1439363"/>
            <a:chOff x="252000" y="4509000"/>
            <a:chExt cx="2592000" cy="1439363"/>
          </a:xfrm>
        </p:grpSpPr>
        <p:sp>
          <p:nvSpPr>
            <p:cNvPr id="69" name="Text Placeholder 7"/>
            <p:cNvSpPr txBox="1">
              <a:spLocks/>
            </p:cNvSpPr>
            <p:nvPr/>
          </p:nvSpPr>
          <p:spPr>
            <a:xfrm>
              <a:off x="252000" y="4509000"/>
              <a:ext cx="2592000" cy="3225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Sub</a:t>
              </a:r>
              <a:endParaRPr lang="de-DE" sz="1600" dirty="0"/>
            </a:p>
          </p:txBody>
        </p:sp>
        <p:sp>
          <p:nvSpPr>
            <p:cNvPr id="70" name="Text Placeholder 7"/>
            <p:cNvSpPr txBox="1">
              <a:spLocks/>
            </p:cNvSpPr>
            <p:nvPr/>
          </p:nvSpPr>
          <p:spPr>
            <a:xfrm>
              <a:off x="252000" y="4831500"/>
              <a:ext cx="2592000" cy="1116863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2" indent="-177800"/>
              <a:r>
                <a:rPr lang="de-DE" sz="1400" dirty="0" err="1"/>
                <a:t>Lorem</a:t>
              </a:r>
              <a:r>
                <a:rPr lang="de-DE" sz="1400" dirty="0"/>
                <a:t> </a:t>
              </a:r>
              <a:r>
                <a:rPr lang="de-DE" sz="1400" dirty="0" err="1"/>
                <a:t>ipsum</a:t>
              </a:r>
              <a:r>
                <a:rPr lang="de-DE" sz="1400" dirty="0"/>
                <a:t> </a:t>
              </a:r>
              <a:r>
                <a:rPr lang="de-DE" sz="1400" dirty="0" err="1"/>
                <a:t>dolor</a:t>
              </a:r>
              <a:r>
                <a:rPr lang="de-DE" sz="1400" dirty="0"/>
                <a:t> </a:t>
              </a:r>
              <a:r>
                <a:rPr lang="de-DE" sz="1400" dirty="0" err="1"/>
                <a:t>sit</a:t>
              </a:r>
              <a:r>
                <a:rPr lang="de-DE" sz="1400" dirty="0"/>
                <a:t> </a:t>
              </a:r>
              <a:r>
                <a:rPr lang="de-DE" sz="1400" dirty="0" err="1"/>
                <a:t>amet</a:t>
              </a:r>
              <a:r>
                <a:rPr lang="de-DE" sz="1400" dirty="0"/>
                <a:t>, </a:t>
              </a:r>
              <a:r>
                <a:rPr lang="de-DE" sz="1400" dirty="0" err="1"/>
                <a:t>consetetur</a:t>
              </a:r>
              <a:r>
                <a:rPr lang="de-DE" sz="1400" dirty="0"/>
                <a:t> </a:t>
              </a:r>
              <a:r>
                <a:rPr lang="de-DE" sz="1400" dirty="0" err="1"/>
                <a:t>sadipscing</a:t>
              </a:r>
              <a:r>
                <a:rPr lang="de-DE" sz="1400" dirty="0"/>
                <a:t> </a:t>
              </a:r>
              <a:r>
                <a:rPr lang="de-DE" sz="1400" dirty="0" err="1"/>
                <a:t>elitr</a:t>
              </a:r>
              <a:r>
                <a:rPr lang="de-DE" sz="1400" dirty="0"/>
                <a:t>, </a:t>
              </a:r>
              <a:r>
                <a:rPr lang="de-DE" sz="1400" dirty="0" err="1"/>
                <a:t>sed</a:t>
              </a:r>
              <a:r>
                <a:rPr lang="de-DE" sz="1400" dirty="0"/>
                <a:t> </a:t>
              </a:r>
              <a:r>
                <a:rPr lang="de-DE" sz="1400" dirty="0" err="1"/>
                <a:t>diam</a:t>
              </a:r>
              <a:r>
                <a:rPr lang="de-DE" sz="1400" dirty="0"/>
                <a:t> </a:t>
              </a:r>
              <a:r>
                <a:rPr lang="de-DE" sz="1400" dirty="0" err="1"/>
                <a:t>nonumy</a:t>
              </a:r>
              <a:r>
                <a:rPr lang="de-DE" sz="1400" dirty="0"/>
                <a:t> </a:t>
              </a:r>
              <a:r>
                <a:rPr lang="de-DE" sz="1400" dirty="0" err="1"/>
                <a:t>eirmod</a:t>
              </a:r>
              <a:r>
                <a:rPr lang="de-DE" sz="1400" dirty="0"/>
                <a:t> </a:t>
              </a:r>
              <a:r>
                <a:rPr lang="de-DE" sz="1400" dirty="0" err="1"/>
                <a:t>tempor</a:t>
              </a:r>
              <a:r>
                <a:rPr lang="de-DE" sz="1400" dirty="0"/>
                <a:t> </a:t>
              </a:r>
              <a:r>
                <a:rPr lang="de-DE" sz="1400" dirty="0" err="1"/>
                <a:t>invidunt</a:t>
              </a:r>
              <a:r>
                <a:rPr lang="de-DE" sz="1400" dirty="0"/>
                <a:t> </a:t>
              </a:r>
              <a:r>
                <a:rPr lang="de-DE" sz="1400" dirty="0" err="1"/>
                <a:t>ut</a:t>
              </a:r>
              <a:r>
                <a:rPr lang="de-DE" sz="1400" dirty="0"/>
                <a:t> l</a:t>
              </a:r>
            </a:p>
            <a:p>
              <a:pPr marL="0" lvl="2" indent="0">
                <a:buNone/>
              </a:pPr>
              <a:endParaRPr lang="de-DE" sz="1400" dirty="0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7536000" y="4509642"/>
            <a:ext cx="2592000" cy="1439363"/>
            <a:chOff x="6012000" y="4509000"/>
            <a:chExt cx="2592000" cy="1439363"/>
          </a:xfrm>
        </p:grpSpPr>
        <p:sp>
          <p:nvSpPr>
            <p:cNvPr id="72" name="Text Placeholder 7"/>
            <p:cNvSpPr txBox="1">
              <a:spLocks/>
            </p:cNvSpPr>
            <p:nvPr/>
          </p:nvSpPr>
          <p:spPr>
            <a:xfrm>
              <a:off x="6012000" y="4509000"/>
              <a:ext cx="2592000" cy="3225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Sub</a:t>
              </a:r>
              <a:endParaRPr lang="de-DE" sz="1600" dirty="0"/>
            </a:p>
          </p:txBody>
        </p:sp>
        <p:sp>
          <p:nvSpPr>
            <p:cNvPr id="73" name="Text Placeholder 7"/>
            <p:cNvSpPr txBox="1">
              <a:spLocks/>
            </p:cNvSpPr>
            <p:nvPr/>
          </p:nvSpPr>
          <p:spPr>
            <a:xfrm>
              <a:off x="6012000" y="4831500"/>
              <a:ext cx="2592000" cy="1116863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square" lIns="72000" tIns="72000" rIns="72000" bIns="72000" anchor="t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2" indent="-177800"/>
              <a:r>
                <a:rPr lang="de-DE" sz="1400" dirty="0" err="1"/>
                <a:t>Lorem</a:t>
              </a:r>
              <a:r>
                <a:rPr lang="de-DE" sz="1400" dirty="0"/>
                <a:t> </a:t>
              </a:r>
              <a:r>
                <a:rPr lang="de-DE" sz="1400" dirty="0" err="1"/>
                <a:t>ipsum</a:t>
              </a:r>
              <a:r>
                <a:rPr lang="de-DE" sz="1400" dirty="0"/>
                <a:t> </a:t>
              </a:r>
              <a:r>
                <a:rPr lang="de-DE" sz="1400" dirty="0" err="1"/>
                <a:t>dolor</a:t>
              </a:r>
              <a:r>
                <a:rPr lang="de-DE" sz="1400" dirty="0"/>
                <a:t> </a:t>
              </a:r>
              <a:r>
                <a:rPr lang="de-DE" sz="1400" dirty="0" err="1"/>
                <a:t>sit</a:t>
              </a:r>
              <a:r>
                <a:rPr lang="de-DE" sz="1400" dirty="0"/>
                <a:t> </a:t>
              </a:r>
              <a:r>
                <a:rPr lang="de-DE" sz="1400" dirty="0" err="1"/>
                <a:t>amet</a:t>
              </a:r>
              <a:r>
                <a:rPr lang="de-DE" sz="1400" dirty="0"/>
                <a:t>, </a:t>
              </a:r>
              <a:r>
                <a:rPr lang="de-DE" sz="1400" dirty="0" err="1"/>
                <a:t>consetetur</a:t>
              </a:r>
              <a:r>
                <a:rPr lang="de-DE" sz="1400" dirty="0"/>
                <a:t> </a:t>
              </a:r>
              <a:r>
                <a:rPr lang="de-DE" sz="1400" dirty="0" err="1"/>
                <a:t>sadipscing</a:t>
              </a:r>
              <a:r>
                <a:rPr lang="de-DE" sz="1400" dirty="0"/>
                <a:t> </a:t>
              </a:r>
              <a:r>
                <a:rPr lang="de-DE" sz="1400" dirty="0" err="1"/>
                <a:t>elitr</a:t>
              </a:r>
              <a:r>
                <a:rPr lang="de-DE" sz="1400" dirty="0"/>
                <a:t>, </a:t>
              </a:r>
              <a:r>
                <a:rPr lang="de-DE" sz="1400" dirty="0" err="1"/>
                <a:t>sed</a:t>
              </a:r>
              <a:r>
                <a:rPr lang="de-DE" sz="1400" dirty="0"/>
                <a:t> </a:t>
              </a:r>
              <a:r>
                <a:rPr lang="de-DE" sz="1400" dirty="0" err="1"/>
                <a:t>diam</a:t>
              </a:r>
              <a:r>
                <a:rPr lang="de-DE" sz="1400" dirty="0"/>
                <a:t> </a:t>
              </a:r>
              <a:r>
                <a:rPr lang="de-DE" sz="1400" dirty="0" err="1"/>
                <a:t>nonumy</a:t>
              </a:r>
              <a:r>
                <a:rPr lang="de-DE" sz="1400" dirty="0"/>
                <a:t> </a:t>
              </a:r>
              <a:r>
                <a:rPr lang="de-DE" sz="1400" dirty="0" err="1"/>
                <a:t>eirmod</a:t>
              </a:r>
              <a:r>
                <a:rPr lang="de-DE" sz="1400" dirty="0"/>
                <a:t> </a:t>
              </a:r>
              <a:r>
                <a:rPr lang="de-DE" sz="1400" dirty="0" err="1"/>
                <a:t>tempor</a:t>
              </a:r>
              <a:r>
                <a:rPr lang="de-DE" sz="1400" dirty="0"/>
                <a:t> </a:t>
              </a:r>
              <a:r>
                <a:rPr lang="de-DE" sz="1400" dirty="0" err="1"/>
                <a:t>invidunt</a:t>
              </a:r>
              <a:r>
                <a:rPr lang="de-DE" sz="1400" dirty="0"/>
                <a:t> </a:t>
              </a:r>
              <a:r>
                <a:rPr lang="de-DE" sz="1400" dirty="0" err="1"/>
                <a:t>ut</a:t>
              </a:r>
              <a:r>
                <a:rPr lang="de-DE" sz="1400" dirty="0"/>
                <a:t> l</a:t>
              </a:r>
            </a:p>
            <a:p>
              <a:pPr marL="0" lvl="2" indent="0">
                <a:buNone/>
              </a:pPr>
              <a:endParaRPr lang="de-DE" sz="1400" dirty="0"/>
            </a:p>
          </p:txBody>
        </p:sp>
      </p:grpSp>
      <p:sp>
        <p:nvSpPr>
          <p:cNvPr id="4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077148597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Key Messag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7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cxnSp>
        <p:nvCxnSpPr>
          <p:cNvPr id="9" name="Gerade Verbindung 7"/>
          <p:cNvCxnSpPr/>
          <p:nvPr>
            <p:custDataLst>
              <p:tags r:id="rId1"/>
            </p:custDataLst>
          </p:nvPr>
        </p:nvCxnSpPr>
        <p:spPr bwMode="gray">
          <a:xfrm>
            <a:off x="5808005" y="1629000"/>
            <a:ext cx="4605337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24"/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>
            <a:off x="3589838" y="1629000"/>
            <a:ext cx="201453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6"/>
          <p:cNvCxnSpPr/>
          <p:nvPr/>
        </p:nvCxnSpPr>
        <p:spPr bwMode="gray">
          <a:xfrm>
            <a:off x="5824542" y="2808962"/>
            <a:ext cx="460533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Gerade Verbindung 26"/>
          <p:cNvCxnSpPr/>
          <p:nvPr/>
        </p:nvCxnSpPr>
        <p:spPr bwMode="gray">
          <a:xfrm>
            <a:off x="3628486" y="2808962"/>
            <a:ext cx="201411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17"/>
          <p:cNvCxnSpPr/>
          <p:nvPr/>
        </p:nvCxnSpPr>
        <p:spPr bwMode="gray">
          <a:xfrm>
            <a:off x="5824542" y="5010556"/>
            <a:ext cx="460533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Gerade Verbindung 27"/>
          <p:cNvCxnSpPr/>
          <p:nvPr/>
        </p:nvCxnSpPr>
        <p:spPr bwMode="gray">
          <a:xfrm>
            <a:off x="3628486" y="5010556"/>
            <a:ext cx="201411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8"/>
          <p:cNvCxnSpPr/>
          <p:nvPr/>
        </p:nvCxnSpPr>
        <p:spPr bwMode="gray">
          <a:xfrm>
            <a:off x="5824542" y="3909759"/>
            <a:ext cx="460533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8"/>
          <p:cNvCxnSpPr/>
          <p:nvPr/>
        </p:nvCxnSpPr>
        <p:spPr bwMode="gray">
          <a:xfrm>
            <a:off x="3628486" y="3909759"/>
            <a:ext cx="201411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Chevron 43"/>
          <p:cNvSpPr/>
          <p:nvPr/>
        </p:nvSpPr>
        <p:spPr bwMode="gray">
          <a:xfrm>
            <a:off x="5461833" y="1413000"/>
            <a:ext cx="144000" cy="144000"/>
          </a:xfrm>
          <a:prstGeom prst="chevron">
            <a:avLst>
              <a:gd name="adj" fmla="val 42440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90000" rIns="90000" bIns="90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" charset="0"/>
            </a:endParaRPr>
          </a:p>
        </p:txBody>
      </p:sp>
      <p:cxnSp>
        <p:nvCxnSpPr>
          <p:cNvPr id="7" name="Gerade Verbindung 6"/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1762678" y="1629000"/>
            <a:ext cx="1597327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7"/>
          <p:cNvSpPr txBox="1">
            <a:spLocks/>
          </p:cNvSpPr>
          <p:nvPr/>
        </p:nvSpPr>
        <p:spPr>
          <a:xfrm>
            <a:off x="1762673" y="1341000"/>
            <a:ext cx="1584000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Message</a:t>
            </a:r>
            <a:endParaRPr lang="de-DE" sz="1200" dirty="0"/>
          </a:p>
        </p:txBody>
      </p:sp>
      <p:sp>
        <p:nvSpPr>
          <p:cNvPr id="49" name="Text Placeholder 7"/>
          <p:cNvSpPr txBox="1">
            <a:spLocks/>
          </p:cNvSpPr>
          <p:nvPr/>
        </p:nvSpPr>
        <p:spPr>
          <a:xfrm>
            <a:off x="3589833" y="1341000"/>
            <a:ext cx="1872000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Description</a:t>
            </a:r>
            <a:endParaRPr lang="de-DE" sz="1200" dirty="0"/>
          </a:p>
        </p:txBody>
      </p:sp>
      <p:sp>
        <p:nvSpPr>
          <p:cNvPr id="50" name="Text Placeholder 7"/>
          <p:cNvSpPr txBox="1">
            <a:spLocks/>
          </p:cNvSpPr>
          <p:nvPr/>
        </p:nvSpPr>
        <p:spPr>
          <a:xfrm>
            <a:off x="5808000" y="1341000"/>
            <a:ext cx="4608000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Details</a:t>
            </a:r>
            <a:endParaRPr lang="de-DE" sz="1200" dirty="0"/>
          </a:p>
        </p:txBody>
      </p:sp>
      <p:sp>
        <p:nvSpPr>
          <p:cNvPr id="43" name="Text Placeholder 7"/>
          <p:cNvSpPr txBox="1">
            <a:spLocks/>
          </p:cNvSpPr>
          <p:nvPr/>
        </p:nvSpPr>
        <p:spPr>
          <a:xfrm>
            <a:off x="1906673" y="1845000"/>
            <a:ext cx="1440000" cy="864000"/>
          </a:xfrm>
          <a:prstGeom prst="rect">
            <a:avLst/>
          </a:prstGeom>
          <a:solidFill>
            <a:schemeClr val="accent5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26" name="Textfeld 7"/>
          <p:cNvSpPr txBox="1"/>
          <p:nvPr/>
        </p:nvSpPr>
        <p:spPr bwMode="gray">
          <a:xfrm>
            <a:off x="1767284" y="2119388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51" name="Text Placeholder 7"/>
          <p:cNvSpPr txBox="1">
            <a:spLocks/>
          </p:cNvSpPr>
          <p:nvPr/>
        </p:nvSpPr>
        <p:spPr>
          <a:xfrm>
            <a:off x="3589833" y="1845000"/>
            <a:ext cx="2016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</a:p>
        </p:txBody>
      </p:sp>
      <p:sp>
        <p:nvSpPr>
          <p:cNvPr id="52" name="Text Placeholder 7"/>
          <p:cNvSpPr txBox="1">
            <a:spLocks/>
          </p:cNvSpPr>
          <p:nvPr/>
        </p:nvSpPr>
        <p:spPr>
          <a:xfrm>
            <a:off x="5808000" y="1845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55" name="Text Placeholder 7"/>
          <p:cNvSpPr txBox="1">
            <a:spLocks/>
          </p:cNvSpPr>
          <p:nvPr/>
        </p:nvSpPr>
        <p:spPr>
          <a:xfrm>
            <a:off x="1902062" y="2925000"/>
            <a:ext cx="1440000" cy="864000"/>
          </a:xfrm>
          <a:prstGeom prst="rect">
            <a:avLst/>
          </a:prstGeom>
          <a:solidFill>
            <a:schemeClr val="accent5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56" name="Textfeld 7"/>
          <p:cNvSpPr txBox="1"/>
          <p:nvPr/>
        </p:nvSpPr>
        <p:spPr bwMode="gray">
          <a:xfrm>
            <a:off x="1762673" y="3199388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57" name="Text Placeholder 7"/>
          <p:cNvSpPr txBox="1">
            <a:spLocks/>
          </p:cNvSpPr>
          <p:nvPr/>
        </p:nvSpPr>
        <p:spPr>
          <a:xfrm>
            <a:off x="3585222" y="2925000"/>
            <a:ext cx="2016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</a:p>
        </p:txBody>
      </p:sp>
      <p:sp>
        <p:nvSpPr>
          <p:cNvPr id="58" name="Text Placeholder 7"/>
          <p:cNvSpPr txBox="1">
            <a:spLocks/>
          </p:cNvSpPr>
          <p:nvPr/>
        </p:nvSpPr>
        <p:spPr>
          <a:xfrm>
            <a:off x="5803389" y="2925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60" name="Text Placeholder 7"/>
          <p:cNvSpPr txBox="1">
            <a:spLocks/>
          </p:cNvSpPr>
          <p:nvPr/>
        </p:nvSpPr>
        <p:spPr>
          <a:xfrm>
            <a:off x="1897451" y="4005000"/>
            <a:ext cx="1440000" cy="864000"/>
          </a:xfrm>
          <a:prstGeom prst="rect">
            <a:avLst/>
          </a:prstGeom>
          <a:solidFill>
            <a:schemeClr val="accent5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61" name="Textfeld 7"/>
          <p:cNvSpPr txBox="1"/>
          <p:nvPr/>
        </p:nvSpPr>
        <p:spPr bwMode="gray">
          <a:xfrm>
            <a:off x="1758062" y="4279388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62" name="Text Placeholder 7"/>
          <p:cNvSpPr txBox="1">
            <a:spLocks/>
          </p:cNvSpPr>
          <p:nvPr/>
        </p:nvSpPr>
        <p:spPr>
          <a:xfrm>
            <a:off x="3580611" y="4005000"/>
            <a:ext cx="2016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</a:p>
        </p:txBody>
      </p:sp>
      <p:sp>
        <p:nvSpPr>
          <p:cNvPr id="63" name="Text Placeholder 7"/>
          <p:cNvSpPr txBox="1">
            <a:spLocks/>
          </p:cNvSpPr>
          <p:nvPr/>
        </p:nvSpPr>
        <p:spPr>
          <a:xfrm>
            <a:off x="5798778" y="4005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65" name="Text Placeholder 7"/>
          <p:cNvSpPr txBox="1">
            <a:spLocks/>
          </p:cNvSpPr>
          <p:nvPr/>
        </p:nvSpPr>
        <p:spPr>
          <a:xfrm>
            <a:off x="1892840" y="5085000"/>
            <a:ext cx="1440000" cy="864000"/>
          </a:xfrm>
          <a:prstGeom prst="rect">
            <a:avLst/>
          </a:prstGeom>
          <a:solidFill>
            <a:schemeClr val="accent5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66" name="Textfeld 7"/>
          <p:cNvSpPr txBox="1"/>
          <p:nvPr/>
        </p:nvSpPr>
        <p:spPr bwMode="gray">
          <a:xfrm>
            <a:off x="1753451" y="5359388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4</a:t>
            </a:r>
          </a:p>
        </p:txBody>
      </p:sp>
      <p:sp>
        <p:nvSpPr>
          <p:cNvPr id="67" name="Text Placeholder 7"/>
          <p:cNvSpPr txBox="1">
            <a:spLocks/>
          </p:cNvSpPr>
          <p:nvPr/>
        </p:nvSpPr>
        <p:spPr>
          <a:xfrm>
            <a:off x="3576000" y="5085000"/>
            <a:ext cx="2016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</a:p>
        </p:txBody>
      </p:sp>
      <p:sp>
        <p:nvSpPr>
          <p:cNvPr id="68" name="Text Placeholder 7"/>
          <p:cNvSpPr txBox="1">
            <a:spLocks/>
          </p:cNvSpPr>
          <p:nvPr/>
        </p:nvSpPr>
        <p:spPr>
          <a:xfrm>
            <a:off x="5794167" y="5085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38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21514828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Optio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cxnSp>
        <p:nvCxnSpPr>
          <p:cNvPr id="8" name="Gewinkelte Verbindung 8"/>
          <p:cNvCxnSpPr>
            <a:stCxn id="58" idx="2"/>
            <a:endCxn id="31" idx="2"/>
          </p:cNvCxnSpPr>
          <p:nvPr/>
        </p:nvCxnSpPr>
        <p:spPr bwMode="gray">
          <a:xfrm rot="16200000" flipH="1">
            <a:off x="2142403" y="3998606"/>
            <a:ext cx="714629" cy="439425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Gewinkelte Verbindung 9"/>
          <p:cNvCxnSpPr>
            <a:stCxn id="30" idx="2"/>
            <a:endCxn id="58" idx="0"/>
          </p:cNvCxnSpPr>
          <p:nvPr/>
        </p:nvCxnSpPr>
        <p:spPr bwMode="gray">
          <a:xfrm rot="10800000" flipV="1">
            <a:off x="2280006" y="2216548"/>
            <a:ext cx="439425" cy="70845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winkelte Verbindung 10"/>
          <p:cNvCxnSpPr>
            <a:stCxn id="34" idx="2"/>
            <a:endCxn id="53" idx="3"/>
          </p:cNvCxnSpPr>
          <p:nvPr/>
        </p:nvCxnSpPr>
        <p:spPr bwMode="gray">
          <a:xfrm rot="10800000">
            <a:off x="3864000" y="4545006"/>
            <a:ext cx="250950" cy="107968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winkelte Verbindung 15"/>
          <p:cNvCxnSpPr>
            <a:stCxn id="53" idx="3"/>
            <a:endCxn id="32" idx="2"/>
          </p:cNvCxnSpPr>
          <p:nvPr/>
        </p:nvCxnSpPr>
        <p:spPr bwMode="gray">
          <a:xfrm flipV="1">
            <a:off x="3864000" y="3464686"/>
            <a:ext cx="250950" cy="108031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6"/>
          <p:cNvCxnSpPr>
            <a:stCxn id="53" idx="3"/>
            <a:endCxn id="33" idx="2"/>
          </p:cNvCxnSpPr>
          <p:nvPr/>
        </p:nvCxnSpPr>
        <p:spPr bwMode="gray">
          <a:xfrm flipV="1">
            <a:off x="3864000" y="4544686"/>
            <a:ext cx="250950" cy="31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7"/>
          <p:cNvCxnSpPr>
            <a:stCxn id="48" idx="1"/>
            <a:endCxn id="59" idx="3"/>
          </p:cNvCxnSpPr>
          <p:nvPr/>
        </p:nvCxnSpPr>
        <p:spPr bwMode="gray">
          <a:xfrm flipH="1">
            <a:off x="3864000" y="2240682"/>
            <a:ext cx="432000" cy="31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11"/>
          <p:cNvCxnSpPr/>
          <p:nvPr/>
        </p:nvCxnSpPr>
        <p:spPr bwMode="gray">
          <a:xfrm>
            <a:off x="5808005" y="2997000"/>
            <a:ext cx="460533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12"/>
          <p:cNvCxnSpPr/>
          <p:nvPr/>
        </p:nvCxnSpPr>
        <p:spPr bwMode="gray">
          <a:xfrm>
            <a:off x="5808005" y="5229000"/>
            <a:ext cx="460533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Gerade Verbindung 14"/>
          <p:cNvCxnSpPr/>
          <p:nvPr/>
        </p:nvCxnSpPr>
        <p:spPr bwMode="gray">
          <a:xfrm>
            <a:off x="5808005" y="4149000"/>
            <a:ext cx="460533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7" name="Gruppieren 6"/>
          <p:cNvGrpSpPr/>
          <p:nvPr/>
        </p:nvGrpSpPr>
        <p:grpSpPr>
          <a:xfrm>
            <a:off x="1776000" y="1341000"/>
            <a:ext cx="3816000" cy="288000"/>
            <a:chOff x="252000" y="1197000"/>
            <a:chExt cx="3816000" cy="288000"/>
          </a:xfrm>
        </p:grpSpPr>
        <p:cxnSp>
          <p:nvCxnSpPr>
            <p:cNvPr id="36" name="Gerade Verbindung 6"/>
            <p:cNvCxnSpPr>
              <a:cxnSpLocks/>
            </p:cNvCxnSpPr>
            <p:nvPr>
              <p:custDataLst>
                <p:tags r:id="rId2"/>
              </p:custDataLst>
            </p:nvPr>
          </p:nvCxnSpPr>
          <p:spPr bwMode="gray">
            <a:xfrm>
              <a:off x="252000" y="1485000"/>
              <a:ext cx="3816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 Placeholder 7"/>
            <p:cNvSpPr txBox="1">
              <a:spLocks/>
            </p:cNvSpPr>
            <p:nvPr/>
          </p:nvSpPr>
          <p:spPr>
            <a:xfrm>
              <a:off x="252000" y="1197000"/>
              <a:ext cx="3784162" cy="288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200" dirty="0"/>
                <a:t>Different </a:t>
              </a:r>
              <a:r>
                <a:rPr lang="de-DE" sz="1200" dirty="0" err="1"/>
                <a:t>options</a:t>
              </a:r>
              <a:endParaRPr lang="de-DE" sz="120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5808000" y="1341000"/>
            <a:ext cx="4608000" cy="288000"/>
            <a:chOff x="4284000" y="1197000"/>
            <a:chExt cx="4608000" cy="288000"/>
          </a:xfrm>
        </p:grpSpPr>
        <p:cxnSp>
          <p:nvCxnSpPr>
            <p:cNvPr id="39" name="Gerade Verbindung 6"/>
            <p:cNvCxnSpPr>
              <a:cxnSpLocks/>
            </p:cNvCxnSpPr>
            <p:nvPr>
              <p:custDataLst>
                <p:tags r:id="rId1"/>
              </p:custDataLst>
            </p:nvPr>
          </p:nvCxnSpPr>
          <p:spPr bwMode="gray">
            <a:xfrm>
              <a:off x="4284000" y="1485000"/>
              <a:ext cx="4608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 Placeholder 7"/>
            <p:cNvSpPr txBox="1">
              <a:spLocks/>
            </p:cNvSpPr>
            <p:nvPr/>
          </p:nvSpPr>
          <p:spPr>
            <a:xfrm>
              <a:off x="4284000" y="1197000"/>
              <a:ext cx="4569554" cy="288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ctr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Explanation</a:t>
              </a:r>
              <a:endParaRPr lang="de-DE" sz="1200" dirty="0"/>
            </a:p>
          </p:txBody>
        </p:sp>
      </p:grpSp>
      <p:sp>
        <p:nvSpPr>
          <p:cNvPr id="44" name="Text Placeholder 7"/>
          <p:cNvSpPr txBox="1">
            <a:spLocks/>
          </p:cNvSpPr>
          <p:nvPr/>
        </p:nvSpPr>
        <p:spPr>
          <a:xfrm>
            <a:off x="5808000" y="1917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45" name="Text Placeholder 7"/>
          <p:cNvSpPr txBox="1">
            <a:spLocks/>
          </p:cNvSpPr>
          <p:nvPr/>
        </p:nvSpPr>
        <p:spPr>
          <a:xfrm>
            <a:off x="5808000" y="3141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46" name="Text Placeholder 7"/>
          <p:cNvSpPr txBox="1">
            <a:spLocks/>
          </p:cNvSpPr>
          <p:nvPr/>
        </p:nvSpPr>
        <p:spPr>
          <a:xfrm>
            <a:off x="5808000" y="4221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47" name="Text Placeholder 7"/>
          <p:cNvSpPr txBox="1">
            <a:spLocks/>
          </p:cNvSpPr>
          <p:nvPr/>
        </p:nvSpPr>
        <p:spPr>
          <a:xfrm>
            <a:off x="5808000" y="5301000"/>
            <a:ext cx="460800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anchor="t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/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r>
              <a:rPr lang="de-DE" sz="1400" dirty="0"/>
              <a:t>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</a:t>
            </a:r>
            <a:r>
              <a:rPr lang="de-DE" sz="1400" dirty="0"/>
              <a:t> </a:t>
            </a:r>
            <a:r>
              <a:rPr lang="de-DE" sz="1400" dirty="0" err="1"/>
              <a:t>amet</a:t>
            </a:r>
            <a:r>
              <a:rPr lang="de-DE" sz="1400" dirty="0"/>
              <a:t>, </a:t>
            </a:r>
            <a:r>
              <a:rPr lang="de-DE" sz="1400" dirty="0" err="1"/>
              <a:t>consetetur</a:t>
            </a:r>
            <a:r>
              <a:rPr lang="de-DE" sz="1400" dirty="0"/>
              <a:t> </a:t>
            </a:r>
            <a:r>
              <a:rPr lang="de-DE" sz="1400" dirty="0" err="1"/>
              <a:t>sadipscing</a:t>
            </a:r>
            <a:r>
              <a:rPr lang="de-DE" sz="1400" dirty="0"/>
              <a:t> </a:t>
            </a:r>
            <a:r>
              <a:rPr lang="de-DE" sz="1400" dirty="0" err="1"/>
              <a:t>elitr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nonumy</a:t>
            </a:r>
            <a:r>
              <a:rPr lang="de-DE" sz="1400" dirty="0"/>
              <a:t> </a:t>
            </a:r>
            <a:r>
              <a:rPr lang="de-DE" sz="1400" dirty="0" err="1"/>
              <a:t>eirmod</a:t>
            </a:r>
            <a:r>
              <a:rPr lang="de-DE" sz="1400" dirty="0"/>
              <a:t> </a:t>
            </a:r>
            <a:r>
              <a:rPr lang="de-DE" sz="1400" dirty="0" err="1"/>
              <a:t>tempor</a:t>
            </a:r>
            <a:r>
              <a:rPr lang="de-DE" sz="1400" dirty="0"/>
              <a:t> </a:t>
            </a:r>
            <a:r>
              <a:rPr lang="de-DE" sz="1400" dirty="0" err="1"/>
              <a:t>invidunt</a:t>
            </a:r>
            <a:r>
              <a:rPr lang="de-DE" sz="1400" dirty="0"/>
              <a:t> </a:t>
            </a:r>
            <a:r>
              <a:rPr lang="de-DE" sz="1400" dirty="0" err="1"/>
              <a:t>ut</a:t>
            </a:r>
            <a:r>
              <a:rPr lang="de-DE" sz="1400" dirty="0"/>
              <a:t> </a:t>
            </a:r>
            <a:r>
              <a:rPr lang="de-DE" sz="1400" dirty="0" err="1"/>
              <a:t>labore</a:t>
            </a:r>
            <a:r>
              <a:rPr lang="de-DE" sz="1400" dirty="0"/>
              <a:t> et </a:t>
            </a:r>
            <a:r>
              <a:rPr lang="de-DE" sz="1400" dirty="0" err="1"/>
              <a:t>dolore</a:t>
            </a:r>
            <a:r>
              <a:rPr lang="de-DE" sz="1400" dirty="0"/>
              <a:t> magna </a:t>
            </a:r>
            <a:r>
              <a:rPr lang="de-DE" sz="1400" dirty="0" err="1"/>
              <a:t>aliquyam</a:t>
            </a:r>
            <a:r>
              <a:rPr lang="de-DE" sz="1400" dirty="0"/>
              <a:t> </a:t>
            </a:r>
            <a:r>
              <a:rPr lang="de-DE" sz="1400" dirty="0" err="1"/>
              <a:t>erat</a:t>
            </a:r>
            <a:r>
              <a:rPr lang="de-DE" sz="1400" dirty="0"/>
              <a:t>, </a:t>
            </a:r>
            <a:r>
              <a:rPr lang="de-DE" sz="1400" dirty="0" err="1"/>
              <a:t>sed</a:t>
            </a:r>
            <a:r>
              <a:rPr lang="de-DE" sz="1400" dirty="0"/>
              <a:t> </a:t>
            </a:r>
            <a:r>
              <a:rPr lang="de-DE" sz="1400" dirty="0" err="1"/>
              <a:t>diam</a:t>
            </a:r>
            <a:r>
              <a:rPr lang="de-DE" sz="1400" dirty="0"/>
              <a:t> </a:t>
            </a:r>
            <a:r>
              <a:rPr lang="de-DE" sz="1400" dirty="0" err="1"/>
              <a:t>voluptua</a:t>
            </a:r>
            <a:r>
              <a:rPr lang="de-DE" sz="1400" dirty="0"/>
              <a:t>. </a:t>
            </a:r>
          </a:p>
        </p:txBody>
      </p:sp>
      <p:sp>
        <p:nvSpPr>
          <p:cNvPr id="48" name="Text Placeholder 7"/>
          <p:cNvSpPr txBox="1">
            <a:spLocks/>
          </p:cNvSpPr>
          <p:nvPr/>
        </p:nvSpPr>
        <p:spPr>
          <a:xfrm>
            <a:off x="4296000" y="1917005"/>
            <a:ext cx="1296000" cy="647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Detail</a:t>
            </a:r>
          </a:p>
        </p:txBody>
      </p:sp>
      <p:sp>
        <p:nvSpPr>
          <p:cNvPr id="49" name="Text Placeholder 7"/>
          <p:cNvSpPr txBox="1">
            <a:spLocks/>
          </p:cNvSpPr>
          <p:nvPr/>
        </p:nvSpPr>
        <p:spPr>
          <a:xfrm>
            <a:off x="4296000" y="3141005"/>
            <a:ext cx="1296000" cy="647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50" name="Text Placeholder 7"/>
          <p:cNvSpPr txBox="1">
            <a:spLocks/>
          </p:cNvSpPr>
          <p:nvPr/>
        </p:nvSpPr>
        <p:spPr>
          <a:xfrm>
            <a:off x="4296000" y="4221005"/>
            <a:ext cx="1296000" cy="647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51" name="Text Placeholder 7"/>
          <p:cNvSpPr txBox="1">
            <a:spLocks/>
          </p:cNvSpPr>
          <p:nvPr/>
        </p:nvSpPr>
        <p:spPr>
          <a:xfrm>
            <a:off x="4296000" y="5301005"/>
            <a:ext cx="1296000" cy="647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Numbered</a:t>
            </a:r>
            <a:r>
              <a:rPr lang="de-DE" sz="1400" dirty="0"/>
              <a:t> </a:t>
            </a:r>
            <a:r>
              <a:rPr lang="de-DE" sz="1400" dirty="0" err="1"/>
              <a:t>group</a:t>
            </a:r>
            <a:endParaRPr lang="de-DE" sz="1400" dirty="0"/>
          </a:p>
        </p:txBody>
      </p:sp>
      <p:sp>
        <p:nvSpPr>
          <p:cNvPr id="32" name="Textfeld 7"/>
          <p:cNvSpPr txBox="1"/>
          <p:nvPr/>
        </p:nvSpPr>
        <p:spPr bwMode="gray">
          <a:xfrm>
            <a:off x="4114950" y="3325506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a</a:t>
            </a:r>
          </a:p>
        </p:txBody>
      </p:sp>
      <p:sp>
        <p:nvSpPr>
          <p:cNvPr id="33" name="Textfeld 7"/>
          <p:cNvSpPr txBox="1"/>
          <p:nvPr/>
        </p:nvSpPr>
        <p:spPr bwMode="gray">
          <a:xfrm>
            <a:off x="4114950" y="4405506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b</a:t>
            </a:r>
          </a:p>
        </p:txBody>
      </p:sp>
      <p:sp>
        <p:nvSpPr>
          <p:cNvPr id="34" name="Textfeld 7"/>
          <p:cNvSpPr txBox="1"/>
          <p:nvPr/>
        </p:nvSpPr>
        <p:spPr bwMode="gray">
          <a:xfrm>
            <a:off x="4114950" y="5485506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</a:t>
            </a:r>
          </a:p>
        </p:txBody>
      </p:sp>
      <p:sp>
        <p:nvSpPr>
          <p:cNvPr id="53" name="Text Placeholder 7"/>
          <p:cNvSpPr txBox="1">
            <a:spLocks/>
          </p:cNvSpPr>
          <p:nvPr/>
        </p:nvSpPr>
        <p:spPr>
          <a:xfrm>
            <a:off x="2856000" y="4077000"/>
            <a:ext cx="1008000" cy="9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Option 2</a:t>
            </a:r>
          </a:p>
        </p:txBody>
      </p:sp>
      <p:sp>
        <p:nvSpPr>
          <p:cNvPr id="58" name="Text Placeholder 7"/>
          <p:cNvSpPr txBox="1">
            <a:spLocks/>
          </p:cNvSpPr>
          <p:nvPr/>
        </p:nvSpPr>
        <p:spPr>
          <a:xfrm>
            <a:off x="1776000" y="2925000"/>
            <a:ext cx="1008000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72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400" dirty="0">
                <a:solidFill>
                  <a:schemeClr val="bg1"/>
                </a:solidFill>
              </a:rPr>
              <a:t>Option</a:t>
            </a:r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2856000" y="1773000"/>
            <a:ext cx="1008000" cy="9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216000" tIns="72000" rIns="72000" bIns="7200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Option 1</a:t>
            </a:r>
          </a:p>
        </p:txBody>
      </p:sp>
      <p:sp>
        <p:nvSpPr>
          <p:cNvPr id="30" name="Textfeld 7"/>
          <p:cNvSpPr txBox="1"/>
          <p:nvPr/>
        </p:nvSpPr>
        <p:spPr bwMode="gray">
          <a:xfrm>
            <a:off x="2719425" y="2077373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31" name="Textfeld 7"/>
          <p:cNvSpPr txBox="1"/>
          <p:nvPr/>
        </p:nvSpPr>
        <p:spPr bwMode="gray">
          <a:xfrm>
            <a:off x="2719425" y="4436454"/>
            <a:ext cx="278350" cy="278350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41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538639380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Workshop Agenda – One </a:t>
            </a:r>
            <a:r>
              <a:rPr lang="en-US" dirty="0"/>
              <a:t>Colum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031822" y="3975814"/>
            <a:ext cx="1383771" cy="1944000"/>
            <a:chOff x="7524000" y="1053000"/>
            <a:chExt cx="1383771" cy="1944000"/>
          </a:xfrm>
        </p:grpSpPr>
        <p:sp>
          <p:nvSpPr>
            <p:cNvPr id="72" name="Text Placeholder 7"/>
            <p:cNvSpPr txBox="1">
              <a:spLocks/>
            </p:cNvSpPr>
            <p:nvPr/>
          </p:nvSpPr>
          <p:spPr>
            <a:xfrm>
              <a:off x="7524000" y="1053000"/>
              <a:ext cx="1383771" cy="194400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</p:spPr>
          <p:txBody>
            <a:bodyPr wrap="none" lIns="72000" tIns="72000" rIns="72000" bIns="72000" anchor="t" anchorCtr="0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0"/>
                </a:spcBef>
              </a:pPr>
              <a:r>
                <a:rPr lang="de-DE" sz="1600" dirty="0"/>
                <a:t>Location</a:t>
              </a:r>
            </a:p>
            <a:p>
              <a:pPr lvl="1">
                <a:spcBef>
                  <a:spcPts val="0"/>
                </a:spcBef>
              </a:pPr>
              <a:endParaRPr lang="de-DE" sz="1600" dirty="0"/>
            </a:p>
            <a:p>
              <a:pPr lvl="1">
                <a:spcBef>
                  <a:spcPts val="0"/>
                </a:spcBef>
              </a:pPr>
              <a:r>
                <a:rPr lang="de-DE" sz="1400" b="0" dirty="0" err="1"/>
                <a:t>Axxiome</a:t>
              </a:r>
              <a:endParaRPr lang="de-DE" sz="1400" b="0" dirty="0"/>
            </a:p>
            <a:p>
              <a:pPr lvl="1">
                <a:spcBef>
                  <a:spcPts val="0"/>
                </a:spcBef>
              </a:pPr>
              <a:r>
                <a:rPr lang="de-DE" sz="1400" b="0" dirty="0"/>
                <a:t>Platz der Einheit 1</a:t>
              </a:r>
            </a:p>
            <a:p>
              <a:pPr lvl="1">
                <a:spcBef>
                  <a:spcPts val="0"/>
                </a:spcBef>
              </a:pPr>
              <a:r>
                <a:rPr lang="de-DE" sz="1400" b="0" dirty="0"/>
                <a:t>60868 Frankfurt</a:t>
              </a:r>
            </a:p>
            <a:p>
              <a:pPr lvl="1">
                <a:spcBef>
                  <a:spcPts val="0"/>
                </a:spcBef>
              </a:pPr>
              <a:endParaRPr lang="de-DE" sz="1400" b="0" dirty="0"/>
            </a:p>
            <a:p>
              <a:pPr lvl="1">
                <a:spcBef>
                  <a:spcPts val="0"/>
                </a:spcBef>
              </a:pPr>
              <a:r>
                <a:rPr lang="de-DE" sz="1400" dirty="0" err="1"/>
                <a:t>Room</a:t>
              </a:r>
              <a:r>
                <a:rPr lang="de-DE" sz="1400" dirty="0"/>
                <a:t> 32</a:t>
              </a:r>
            </a:p>
            <a:p>
              <a:pPr lvl="1">
                <a:spcBef>
                  <a:spcPts val="0"/>
                </a:spcBef>
              </a:pPr>
              <a:r>
                <a:rPr lang="de-DE" sz="1400" b="0" dirty="0"/>
                <a:t>on </a:t>
              </a:r>
              <a:r>
                <a:rPr lang="de-DE" sz="1400" b="0" dirty="0" err="1"/>
                <a:t>the</a:t>
              </a:r>
              <a:r>
                <a:rPr lang="de-DE" sz="1400" b="0" dirty="0"/>
                <a:t> </a:t>
              </a:r>
              <a:r>
                <a:rPr lang="de-DE" sz="1400" b="0" dirty="0" err="1"/>
                <a:t>left</a:t>
              </a:r>
              <a:endParaRPr lang="de-DE" sz="1400" b="0" dirty="0"/>
            </a:p>
          </p:txBody>
        </p:sp>
        <p:cxnSp>
          <p:nvCxnSpPr>
            <p:cNvPr id="74" name="Straight Connector 73"/>
            <p:cNvCxnSpPr/>
            <p:nvPr/>
          </p:nvCxnSpPr>
          <p:spPr>
            <a:xfrm>
              <a:off x="7611771" y="1413000"/>
              <a:ext cx="1224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/>
          <p:cNvGrpSpPr/>
          <p:nvPr/>
        </p:nvGrpSpPr>
        <p:grpSpPr>
          <a:xfrm>
            <a:off x="2394018" y="1592311"/>
            <a:ext cx="5702998" cy="514745"/>
            <a:chOff x="1713802" y="1578070"/>
            <a:chExt cx="5702998" cy="514745"/>
          </a:xfrm>
        </p:grpSpPr>
        <p:sp>
          <p:nvSpPr>
            <p:cNvPr id="73" name="Textfeld 4"/>
            <p:cNvSpPr txBox="1"/>
            <p:nvPr/>
          </p:nvSpPr>
          <p:spPr bwMode="gray">
            <a:xfrm>
              <a:off x="5917649" y="1600372"/>
              <a:ext cx="1499151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r>
                <a:rPr lang="en-US" sz="1600" dirty="0">
                  <a:latin typeface="Arial"/>
                  <a:cs typeface="Arial" charset="0"/>
                </a:rPr>
                <a:t> – </a:t>
              </a:r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endParaRPr lang="en-US" sz="1600" dirty="0">
                <a:latin typeface="Arial"/>
                <a:cs typeface="Arial" charset="0"/>
              </a:endParaRPr>
            </a:p>
          </p:txBody>
        </p:sp>
        <p:sp>
          <p:nvSpPr>
            <p:cNvPr id="75" name="Textfeld 5"/>
            <p:cNvSpPr txBox="1"/>
            <p:nvPr/>
          </p:nvSpPr>
          <p:spPr bwMode="gray">
            <a:xfrm>
              <a:off x="2072731" y="1600372"/>
              <a:ext cx="374617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600" b="1" dirty="0">
                  <a:latin typeface="Arial"/>
                  <a:cs typeface="Arial" charset="0"/>
                </a:rPr>
                <a:t>Topic 1</a:t>
              </a:r>
              <a:br>
                <a:rPr lang="de-DE" sz="1600" b="1" dirty="0">
                  <a:latin typeface="Arial"/>
                  <a:cs typeface="Arial" charset="0"/>
                </a:rPr>
              </a:br>
              <a:r>
                <a:rPr lang="de-DE" sz="1600" dirty="0">
                  <a:latin typeface="Arial"/>
                  <a:cs typeface="Arial" charset="0"/>
                </a:rPr>
                <a:t>TBD</a:t>
              </a:r>
            </a:p>
          </p:txBody>
        </p:sp>
        <p:sp>
          <p:nvSpPr>
            <p:cNvPr id="76" name="Textfeld 7"/>
            <p:cNvSpPr txBox="1"/>
            <p:nvPr/>
          </p:nvSpPr>
          <p:spPr bwMode="gray">
            <a:xfrm>
              <a:off x="1713802" y="1578070"/>
              <a:ext cx="288000" cy="288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600" b="1" dirty="0">
                  <a:solidFill>
                    <a:schemeClr val="bg1"/>
                  </a:solidFill>
                  <a:latin typeface="Arial"/>
                  <a:cs typeface="Arial" charset="0"/>
                </a:rPr>
                <a:t>1</a:t>
              </a: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2352000" y="4525766"/>
            <a:ext cx="5799600" cy="468000"/>
            <a:chOff x="1671784" y="4511530"/>
            <a:chExt cx="5799600" cy="46800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78" name="Rectangle 10"/>
            <p:cNvSpPr/>
            <p:nvPr>
              <p:custDataLst>
                <p:tags r:id="rId4"/>
              </p:custDataLst>
            </p:nvPr>
          </p:nvSpPr>
          <p:spPr bwMode="gray">
            <a:xfrm>
              <a:off x="1671784" y="4511530"/>
              <a:ext cx="5799600" cy="468000"/>
            </a:xfrm>
            <a:prstGeom prst="rect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92685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9" name="Textfeld 4"/>
            <p:cNvSpPr txBox="1"/>
            <p:nvPr>
              <p:custDataLst>
                <p:tags r:id="rId5"/>
              </p:custDataLst>
            </p:nvPr>
          </p:nvSpPr>
          <p:spPr bwMode="gray">
            <a:xfrm>
              <a:off x="5917648" y="4622420"/>
              <a:ext cx="1498319" cy="246221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r>
                <a:rPr lang="en-US" sz="1600" dirty="0">
                  <a:latin typeface="Arial"/>
                  <a:cs typeface="Arial" charset="0"/>
                </a:rPr>
                <a:t> – </a:t>
              </a:r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endParaRPr lang="en-US" sz="1600" dirty="0">
                <a:latin typeface="Arial"/>
                <a:cs typeface="Arial" charset="0"/>
              </a:endParaRPr>
            </a:p>
          </p:txBody>
        </p:sp>
        <p:sp>
          <p:nvSpPr>
            <p:cNvPr id="80" name="Textfeld 5"/>
            <p:cNvSpPr txBox="1"/>
            <p:nvPr>
              <p:custDataLst>
                <p:tags r:id="rId6"/>
              </p:custDataLst>
            </p:nvPr>
          </p:nvSpPr>
          <p:spPr bwMode="gray">
            <a:xfrm>
              <a:off x="2072731" y="4622420"/>
              <a:ext cx="3746178" cy="246221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600" b="1" dirty="0">
                  <a:latin typeface="Arial"/>
                  <a:cs typeface="Arial" charset="0"/>
                </a:rPr>
                <a:t>Break (Lunch)</a:t>
              </a:r>
            </a:p>
          </p:txBody>
        </p:sp>
        <p:pic>
          <p:nvPicPr>
            <p:cNvPr id="81" name="Picture 10" descr="C:\Users\AWINDI~1\AppData\Local\Temp\1348583291_monotone_fork_spoon_eat_launch_restaurant_dinner.png"/>
            <p:cNvPicPr preferRelativeResize="0"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13802" y="4601530"/>
              <a:ext cx="288000" cy="2880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xtLst/>
          </p:spPr>
        </p:pic>
      </p:grpSp>
      <p:grpSp>
        <p:nvGrpSpPr>
          <p:cNvPr id="82" name="Group 81"/>
          <p:cNvGrpSpPr/>
          <p:nvPr/>
        </p:nvGrpSpPr>
        <p:grpSpPr>
          <a:xfrm>
            <a:off x="2352000" y="3174531"/>
            <a:ext cx="5800432" cy="468000"/>
            <a:chOff x="1671784" y="3160295"/>
            <a:chExt cx="5800432" cy="46800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3" name="Rectangle 15"/>
            <p:cNvSpPr/>
            <p:nvPr>
              <p:custDataLst>
                <p:tags r:id="rId1"/>
              </p:custDataLst>
            </p:nvPr>
          </p:nvSpPr>
          <p:spPr bwMode="gray">
            <a:xfrm>
              <a:off x="1671784" y="3160295"/>
              <a:ext cx="5800432" cy="468000"/>
            </a:xfrm>
            <a:prstGeom prst="rect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92685"/>
              <a:endParaRPr lang="de-DE" sz="1300" dirty="0">
                <a:solidFill>
                  <a:schemeClr val="tx1"/>
                </a:solidFill>
              </a:endParaRPr>
            </a:p>
          </p:txBody>
        </p:sp>
        <p:sp>
          <p:nvSpPr>
            <p:cNvPr id="84" name="Textfeld 4"/>
            <p:cNvSpPr txBox="1"/>
            <p:nvPr>
              <p:custDataLst>
                <p:tags r:id="rId2"/>
              </p:custDataLst>
            </p:nvPr>
          </p:nvSpPr>
          <p:spPr bwMode="gray">
            <a:xfrm>
              <a:off x="5917648" y="3271185"/>
              <a:ext cx="1498319" cy="246221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r>
                <a:rPr lang="en-US" sz="1600" dirty="0">
                  <a:latin typeface="Arial"/>
                  <a:cs typeface="Arial" charset="0"/>
                </a:rPr>
                <a:t> – </a:t>
              </a:r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endParaRPr lang="en-US" sz="1600" dirty="0">
                <a:latin typeface="Arial"/>
                <a:cs typeface="Arial" charset="0"/>
              </a:endParaRPr>
            </a:p>
          </p:txBody>
        </p:sp>
        <p:sp>
          <p:nvSpPr>
            <p:cNvPr id="85" name="Textfeld 5"/>
            <p:cNvSpPr txBox="1"/>
            <p:nvPr>
              <p:custDataLst>
                <p:tags r:id="rId3"/>
              </p:custDataLst>
            </p:nvPr>
          </p:nvSpPr>
          <p:spPr bwMode="gray">
            <a:xfrm>
              <a:off x="2072731" y="3271185"/>
              <a:ext cx="3746178" cy="246221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600" b="1" dirty="0">
                  <a:latin typeface="Arial"/>
                  <a:cs typeface="Arial" charset="0"/>
                </a:rPr>
                <a:t>Break (Coffee)</a:t>
              </a:r>
            </a:p>
          </p:txBody>
        </p:sp>
        <p:grpSp>
          <p:nvGrpSpPr>
            <p:cNvPr id="86" name="Gruppieren 33"/>
            <p:cNvGrpSpPr/>
            <p:nvPr/>
          </p:nvGrpSpPr>
          <p:grpSpPr>
            <a:xfrm>
              <a:off x="1713802" y="3250295"/>
              <a:ext cx="288000" cy="288000"/>
              <a:chOff x="1713802" y="3250295"/>
              <a:chExt cx="288000" cy="288000"/>
            </a:xfrm>
            <a:grpFill/>
          </p:grpSpPr>
          <p:sp>
            <p:nvSpPr>
              <p:cNvPr id="87" name="Textfeld 7"/>
              <p:cNvSpPr txBox="1"/>
              <p:nvPr/>
            </p:nvSpPr>
            <p:spPr bwMode="gray">
              <a:xfrm>
                <a:off x="1713802" y="3250295"/>
                <a:ext cx="288000" cy="2880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892685"/>
                <a:endParaRPr lang="en-US" sz="1300" b="1" dirty="0">
                  <a:latin typeface="Arial"/>
                  <a:cs typeface="Arial" charset="0"/>
                </a:endParaRPr>
              </a:p>
            </p:txBody>
          </p:sp>
          <p:pic>
            <p:nvPicPr>
              <p:cNvPr id="88" name="Picture 9" descr="C:\Users\AWINDI~1\AppData\Local\Temp\1348583164_coffe-mug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778366" y="3308845"/>
                <a:ext cx="158873" cy="170901"/>
              </a:xfrm>
              <a:prstGeom prst="rect">
                <a:avLst/>
              </a:prstGeom>
              <a:noFill/>
              <a:ln>
                <a:noFill/>
              </a:ln>
              <a:extLst/>
            </p:spPr>
          </p:pic>
        </p:grpSp>
      </p:grpSp>
      <p:cxnSp>
        <p:nvCxnSpPr>
          <p:cNvPr id="89" name="Straight Connector 20"/>
          <p:cNvCxnSpPr/>
          <p:nvPr/>
        </p:nvCxnSpPr>
        <p:spPr bwMode="gray">
          <a:xfrm>
            <a:off x="2394017" y="2291296"/>
            <a:ext cx="5753100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/>
          <p:cNvGrpSpPr/>
          <p:nvPr/>
        </p:nvGrpSpPr>
        <p:grpSpPr>
          <a:xfrm>
            <a:off x="2394023" y="2475546"/>
            <a:ext cx="5702165" cy="514745"/>
            <a:chOff x="1713802" y="2461305"/>
            <a:chExt cx="5702165" cy="514745"/>
          </a:xfrm>
        </p:grpSpPr>
        <p:sp>
          <p:nvSpPr>
            <p:cNvPr id="91" name="Textfeld 4"/>
            <p:cNvSpPr txBox="1"/>
            <p:nvPr/>
          </p:nvSpPr>
          <p:spPr bwMode="gray">
            <a:xfrm>
              <a:off x="5917648" y="2483607"/>
              <a:ext cx="14983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r>
                <a:rPr lang="en-US" sz="1600" dirty="0">
                  <a:latin typeface="Arial"/>
                  <a:cs typeface="Arial" charset="0"/>
                </a:rPr>
                <a:t> – </a:t>
              </a:r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endParaRPr lang="en-US" sz="1600" dirty="0">
                <a:latin typeface="Arial"/>
                <a:cs typeface="Arial" charset="0"/>
              </a:endParaRPr>
            </a:p>
          </p:txBody>
        </p:sp>
        <p:sp>
          <p:nvSpPr>
            <p:cNvPr id="92" name="Textfeld 5"/>
            <p:cNvSpPr txBox="1"/>
            <p:nvPr/>
          </p:nvSpPr>
          <p:spPr bwMode="gray">
            <a:xfrm>
              <a:off x="2100440" y="2483607"/>
              <a:ext cx="374617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600" b="1" dirty="0">
                  <a:latin typeface="Arial"/>
                  <a:cs typeface="Arial" charset="0"/>
                </a:rPr>
                <a:t>Topic 2</a:t>
              </a:r>
              <a:br>
                <a:rPr lang="de-DE" sz="1600" b="1" dirty="0">
                  <a:latin typeface="Arial"/>
                  <a:cs typeface="Arial" charset="0"/>
                </a:rPr>
              </a:br>
              <a:r>
                <a:rPr lang="de-DE" sz="1600" dirty="0">
                  <a:latin typeface="Arial"/>
                  <a:cs typeface="Arial" charset="0"/>
                </a:rPr>
                <a:t>TBD</a:t>
              </a:r>
            </a:p>
          </p:txBody>
        </p:sp>
        <p:sp>
          <p:nvSpPr>
            <p:cNvPr id="93" name="Textfeld 7"/>
            <p:cNvSpPr txBox="1"/>
            <p:nvPr/>
          </p:nvSpPr>
          <p:spPr bwMode="gray">
            <a:xfrm>
              <a:off x="1713802" y="2461305"/>
              <a:ext cx="288000" cy="288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600" b="1" dirty="0">
                  <a:solidFill>
                    <a:schemeClr val="bg1"/>
                  </a:solidFill>
                  <a:latin typeface="Arial"/>
                  <a:cs typeface="Arial" charset="0"/>
                </a:rPr>
                <a:t>2</a:t>
              </a: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2394023" y="3826781"/>
            <a:ext cx="5702165" cy="514745"/>
            <a:chOff x="1713802" y="3812540"/>
            <a:chExt cx="5702165" cy="514745"/>
          </a:xfrm>
        </p:grpSpPr>
        <p:sp>
          <p:nvSpPr>
            <p:cNvPr id="95" name="Textfeld 4"/>
            <p:cNvSpPr txBox="1"/>
            <p:nvPr/>
          </p:nvSpPr>
          <p:spPr bwMode="gray">
            <a:xfrm>
              <a:off x="5917648" y="3834842"/>
              <a:ext cx="14983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r>
                <a:rPr lang="en-US" sz="1600" dirty="0">
                  <a:latin typeface="Arial"/>
                  <a:cs typeface="Arial" charset="0"/>
                </a:rPr>
                <a:t> – </a:t>
              </a:r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endParaRPr lang="en-US" sz="1600" dirty="0">
                <a:latin typeface="Arial"/>
                <a:cs typeface="Arial" charset="0"/>
              </a:endParaRPr>
            </a:p>
          </p:txBody>
        </p:sp>
        <p:sp>
          <p:nvSpPr>
            <p:cNvPr id="96" name="Textfeld 5"/>
            <p:cNvSpPr txBox="1"/>
            <p:nvPr/>
          </p:nvSpPr>
          <p:spPr bwMode="gray">
            <a:xfrm>
              <a:off x="2072731" y="3834842"/>
              <a:ext cx="374617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600" b="1" dirty="0">
                  <a:latin typeface="Arial"/>
                  <a:cs typeface="Arial" charset="0"/>
                </a:rPr>
                <a:t>Topic 3</a:t>
              </a:r>
              <a:br>
                <a:rPr lang="de-DE" sz="1600" b="1" dirty="0">
                  <a:latin typeface="Arial"/>
                  <a:cs typeface="Arial" charset="0"/>
                </a:rPr>
              </a:br>
              <a:r>
                <a:rPr lang="de-DE" sz="1600" dirty="0">
                  <a:latin typeface="Arial"/>
                  <a:cs typeface="Arial" charset="0"/>
                </a:rPr>
                <a:t>TBD</a:t>
              </a:r>
            </a:p>
          </p:txBody>
        </p:sp>
        <p:sp>
          <p:nvSpPr>
            <p:cNvPr id="97" name="Textfeld 7"/>
            <p:cNvSpPr txBox="1"/>
            <p:nvPr/>
          </p:nvSpPr>
          <p:spPr bwMode="gray">
            <a:xfrm>
              <a:off x="1713802" y="3812540"/>
              <a:ext cx="288000" cy="288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600" b="1" dirty="0">
                  <a:solidFill>
                    <a:schemeClr val="bg1"/>
                  </a:solidFill>
                  <a:latin typeface="Arial"/>
                  <a:cs typeface="Arial" charset="0"/>
                </a:rPr>
                <a:t>3</a:t>
              </a: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2394023" y="5178016"/>
            <a:ext cx="5702165" cy="514745"/>
            <a:chOff x="1713802" y="5163775"/>
            <a:chExt cx="5702165" cy="514745"/>
          </a:xfrm>
        </p:grpSpPr>
        <p:sp>
          <p:nvSpPr>
            <p:cNvPr id="99" name="Textfeld 4"/>
            <p:cNvSpPr txBox="1"/>
            <p:nvPr/>
          </p:nvSpPr>
          <p:spPr bwMode="gray">
            <a:xfrm>
              <a:off x="5917648" y="5186077"/>
              <a:ext cx="14983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r>
                <a:rPr lang="en-US" sz="1600" dirty="0">
                  <a:latin typeface="Arial"/>
                  <a:cs typeface="Arial" charset="0"/>
                </a:rPr>
                <a:t> – </a:t>
              </a:r>
              <a:r>
                <a:rPr lang="en-US" sz="1600" dirty="0" err="1">
                  <a:latin typeface="Arial"/>
                  <a:cs typeface="Arial" charset="0"/>
                </a:rPr>
                <a:t>hh:mm</a:t>
              </a:r>
              <a:endParaRPr lang="en-US" sz="1600" dirty="0">
                <a:latin typeface="Arial"/>
                <a:cs typeface="Arial" charset="0"/>
              </a:endParaRPr>
            </a:p>
          </p:txBody>
        </p:sp>
        <p:sp>
          <p:nvSpPr>
            <p:cNvPr id="100" name="Textfeld 5"/>
            <p:cNvSpPr txBox="1"/>
            <p:nvPr/>
          </p:nvSpPr>
          <p:spPr bwMode="gray">
            <a:xfrm>
              <a:off x="2072731" y="5186077"/>
              <a:ext cx="374617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600" b="1" dirty="0">
                  <a:latin typeface="Arial"/>
                  <a:cs typeface="Arial" charset="0"/>
                </a:rPr>
                <a:t>Topic 4</a:t>
              </a:r>
              <a:br>
                <a:rPr lang="de-DE" sz="1600" b="1" dirty="0">
                  <a:latin typeface="Arial"/>
                  <a:cs typeface="Arial" charset="0"/>
                </a:rPr>
              </a:br>
              <a:r>
                <a:rPr lang="de-DE" sz="1600" dirty="0">
                  <a:latin typeface="Arial"/>
                  <a:cs typeface="Arial" charset="0"/>
                </a:rPr>
                <a:t>TBD</a:t>
              </a:r>
            </a:p>
          </p:txBody>
        </p:sp>
        <p:sp>
          <p:nvSpPr>
            <p:cNvPr id="101" name="Textfeld 7"/>
            <p:cNvSpPr txBox="1"/>
            <p:nvPr/>
          </p:nvSpPr>
          <p:spPr bwMode="gray">
            <a:xfrm>
              <a:off x="1713802" y="5163775"/>
              <a:ext cx="288000" cy="288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600" b="1" dirty="0">
                  <a:solidFill>
                    <a:schemeClr val="bg1"/>
                  </a:solidFill>
                  <a:latin typeface="Arial"/>
                  <a:cs typeface="Arial" charset="0"/>
                </a:rPr>
                <a:t>4</a:t>
              </a:r>
            </a:p>
          </p:txBody>
        </p:sp>
      </p:grpSp>
      <p:cxnSp>
        <p:nvCxnSpPr>
          <p:cNvPr id="102" name="Straight Connector 37"/>
          <p:cNvCxnSpPr/>
          <p:nvPr/>
        </p:nvCxnSpPr>
        <p:spPr bwMode="gray">
          <a:xfrm>
            <a:off x="2394018" y="1408061"/>
            <a:ext cx="57531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39"/>
          <p:cNvCxnSpPr/>
          <p:nvPr/>
        </p:nvCxnSpPr>
        <p:spPr bwMode="gray">
          <a:xfrm>
            <a:off x="2394018" y="5877000"/>
            <a:ext cx="575841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464584508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Workshop Agenda – Two </a:t>
            </a:r>
            <a:r>
              <a:rPr lang="en-US" dirty="0"/>
              <a:t>Colum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4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cxnSp>
        <p:nvCxnSpPr>
          <p:cNvPr id="6" name="Straight Connector 69"/>
          <p:cNvCxnSpPr/>
          <p:nvPr/>
        </p:nvCxnSpPr>
        <p:spPr>
          <a:xfrm>
            <a:off x="6096000" y="1413006"/>
            <a:ext cx="0" cy="4297353"/>
          </a:xfrm>
          <a:prstGeom prst="line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1774261" y="1970970"/>
            <a:ext cx="4128932" cy="828913"/>
            <a:chOff x="357634" y="1951790"/>
            <a:chExt cx="4128932" cy="828913"/>
          </a:xfrm>
        </p:grpSpPr>
        <p:sp>
          <p:nvSpPr>
            <p:cNvPr id="8" name="Textfeld 5"/>
            <p:cNvSpPr txBox="1"/>
            <p:nvPr/>
          </p:nvSpPr>
          <p:spPr>
            <a:xfrm>
              <a:off x="662974" y="2011262"/>
              <a:ext cx="2806810" cy="76944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2 Label</a:t>
              </a:r>
            </a:p>
            <a:p>
              <a:pPr>
                <a:buClr>
                  <a:srgbClr val="4C575F"/>
                </a:buClr>
              </a:pPr>
              <a:r>
                <a:rPr lang="de-DE" sz="1000" dirty="0">
                  <a:solidFill>
                    <a:srgbClr val="000000"/>
                  </a:solidFill>
                </a:rPr>
                <a:t>Details, a </a:t>
              </a:r>
              <a:r>
                <a:rPr lang="de-DE" sz="1000" dirty="0" err="1">
                  <a:solidFill>
                    <a:srgbClr val="000000"/>
                  </a:solidFill>
                </a:rPr>
                <a:t>short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description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of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Content,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Approach </a:t>
              </a:r>
              <a:r>
                <a:rPr lang="de-DE" sz="1000" dirty="0" err="1">
                  <a:solidFill>
                    <a:srgbClr val="000000"/>
                  </a:solidFill>
                </a:rPr>
                <a:t>and</a:t>
              </a:r>
              <a:endParaRPr lang="de-DE" sz="1000" dirty="0">
                <a:solidFill>
                  <a:srgbClr val="000000"/>
                </a:solidFill>
              </a:endParaRP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 err="1">
                  <a:solidFill>
                    <a:srgbClr val="000000"/>
                  </a:solidFill>
                </a:rPr>
                <a:t>Aim</a:t>
              </a:r>
              <a:endParaRPr 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9" name="Textfeld 7"/>
            <p:cNvSpPr txBox="1"/>
            <p:nvPr/>
          </p:nvSpPr>
          <p:spPr>
            <a:xfrm>
              <a:off x="357634" y="1951790"/>
              <a:ext cx="252000" cy="252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2</a:t>
              </a:r>
            </a:p>
          </p:txBody>
        </p:sp>
        <p:sp>
          <p:nvSpPr>
            <p:cNvPr id="10" name="Textfeld 4"/>
            <p:cNvSpPr txBox="1"/>
            <p:nvPr/>
          </p:nvSpPr>
          <p:spPr>
            <a:xfrm>
              <a:off x="3470750" y="2011262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740477" y="2942139"/>
            <a:ext cx="4226820" cy="341802"/>
            <a:chOff x="323850" y="2922964"/>
            <a:chExt cx="4226820" cy="34180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2" name="Rectangle 64"/>
            <p:cNvSpPr/>
            <p:nvPr/>
          </p:nvSpPr>
          <p:spPr>
            <a:xfrm>
              <a:off x="323850" y="2922964"/>
              <a:ext cx="4226820" cy="341802"/>
            </a:xfrm>
            <a:prstGeom prst="rect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92685"/>
              <a:endParaRPr lang="de-DE" sz="1300" dirty="0">
                <a:solidFill>
                  <a:schemeClr val="tx1"/>
                </a:solidFill>
              </a:endParaRPr>
            </a:p>
          </p:txBody>
        </p:sp>
        <p:sp>
          <p:nvSpPr>
            <p:cNvPr id="13" name="Textfeld 4"/>
            <p:cNvSpPr txBox="1"/>
            <p:nvPr/>
          </p:nvSpPr>
          <p:spPr>
            <a:xfrm>
              <a:off x="3469784" y="3016921"/>
              <a:ext cx="1016782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  <p:sp>
          <p:nvSpPr>
            <p:cNvPr id="14" name="Textfeld 5"/>
            <p:cNvSpPr txBox="1"/>
            <p:nvPr/>
          </p:nvSpPr>
          <p:spPr>
            <a:xfrm>
              <a:off x="662974" y="3016921"/>
              <a:ext cx="2806810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Break (Coffee)</a:t>
              </a:r>
            </a:p>
          </p:txBody>
        </p:sp>
        <p:grpSp>
          <p:nvGrpSpPr>
            <p:cNvPr id="15" name="Gruppieren 11"/>
            <p:cNvGrpSpPr/>
            <p:nvPr/>
          </p:nvGrpSpPr>
          <p:grpSpPr>
            <a:xfrm>
              <a:off x="357634" y="2967865"/>
              <a:ext cx="252000" cy="252000"/>
              <a:chOff x="315514" y="3157168"/>
              <a:chExt cx="252000" cy="252000"/>
            </a:xfrm>
            <a:grpFill/>
          </p:grpSpPr>
          <p:sp>
            <p:nvSpPr>
              <p:cNvPr id="16" name="Textfeld 7"/>
              <p:cNvSpPr txBox="1"/>
              <p:nvPr/>
            </p:nvSpPr>
            <p:spPr>
              <a:xfrm>
                <a:off x="315514" y="3157168"/>
                <a:ext cx="252000" cy="2520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892685"/>
                <a:endParaRPr lang="en-US" sz="1000" b="1" dirty="0">
                  <a:latin typeface="Arial"/>
                  <a:cs typeface="Arial" charset="0"/>
                </a:endParaRPr>
              </a:p>
            </p:txBody>
          </p:sp>
          <p:pic>
            <p:nvPicPr>
              <p:cNvPr id="17" name="Picture 9" descr="C:\Users\AWINDI~1\AppData\Local\Temp\1348583164_coffe-mug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078" y="3197718"/>
                <a:ext cx="158873" cy="1709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8" name="Group 17"/>
          <p:cNvGrpSpPr/>
          <p:nvPr/>
        </p:nvGrpSpPr>
        <p:grpSpPr>
          <a:xfrm>
            <a:off x="1774261" y="4881440"/>
            <a:ext cx="4128932" cy="828914"/>
            <a:chOff x="357634" y="4862265"/>
            <a:chExt cx="4128932" cy="828914"/>
          </a:xfrm>
        </p:grpSpPr>
        <p:sp>
          <p:nvSpPr>
            <p:cNvPr id="19" name="Textfeld 5"/>
            <p:cNvSpPr txBox="1"/>
            <p:nvPr/>
          </p:nvSpPr>
          <p:spPr>
            <a:xfrm>
              <a:off x="662974" y="4921738"/>
              <a:ext cx="2806810" cy="76944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4 Label</a:t>
              </a:r>
            </a:p>
            <a:p>
              <a:pPr>
                <a:buClr>
                  <a:srgbClr val="4C575F"/>
                </a:buClr>
              </a:pPr>
              <a:r>
                <a:rPr lang="de-DE" sz="1000" dirty="0">
                  <a:solidFill>
                    <a:srgbClr val="000000"/>
                  </a:solidFill>
                </a:rPr>
                <a:t>Details, a </a:t>
              </a:r>
              <a:r>
                <a:rPr lang="de-DE" sz="1000" dirty="0" err="1">
                  <a:solidFill>
                    <a:srgbClr val="000000"/>
                  </a:solidFill>
                </a:rPr>
                <a:t>short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description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of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Content,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Approach </a:t>
              </a:r>
              <a:r>
                <a:rPr lang="de-DE" sz="1000" dirty="0" err="1">
                  <a:solidFill>
                    <a:srgbClr val="000000"/>
                  </a:solidFill>
                </a:rPr>
                <a:t>and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 err="1">
                  <a:solidFill>
                    <a:srgbClr val="000000"/>
                  </a:solidFill>
                </a:rPr>
                <a:t>Aim</a:t>
              </a:r>
              <a:endParaRPr 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20" name="Textfeld 7"/>
            <p:cNvSpPr txBox="1"/>
            <p:nvPr/>
          </p:nvSpPr>
          <p:spPr>
            <a:xfrm>
              <a:off x="357634" y="4862265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4</a:t>
              </a:r>
            </a:p>
          </p:txBody>
        </p:sp>
        <p:sp>
          <p:nvSpPr>
            <p:cNvPr id="21" name="Textfeld 4"/>
            <p:cNvSpPr txBox="1"/>
            <p:nvPr/>
          </p:nvSpPr>
          <p:spPr>
            <a:xfrm>
              <a:off x="3470750" y="4921738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774261" y="3426207"/>
            <a:ext cx="4128932" cy="828913"/>
            <a:chOff x="357634" y="3407027"/>
            <a:chExt cx="4128932" cy="828913"/>
          </a:xfrm>
        </p:grpSpPr>
        <p:sp>
          <p:nvSpPr>
            <p:cNvPr id="23" name="Textfeld 4"/>
            <p:cNvSpPr txBox="1"/>
            <p:nvPr/>
          </p:nvSpPr>
          <p:spPr>
            <a:xfrm>
              <a:off x="3470750" y="3466499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  <p:sp>
          <p:nvSpPr>
            <p:cNvPr id="24" name="Textfeld 5"/>
            <p:cNvSpPr txBox="1"/>
            <p:nvPr/>
          </p:nvSpPr>
          <p:spPr>
            <a:xfrm>
              <a:off x="662974" y="3466499"/>
              <a:ext cx="2806810" cy="76944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3 Label</a:t>
              </a:r>
            </a:p>
            <a:p>
              <a:pPr>
                <a:buClr>
                  <a:srgbClr val="4C575F"/>
                </a:buClr>
              </a:pPr>
              <a:r>
                <a:rPr lang="de-DE" sz="1000" dirty="0">
                  <a:solidFill>
                    <a:srgbClr val="000000"/>
                  </a:solidFill>
                </a:rPr>
                <a:t>Details, a </a:t>
              </a:r>
              <a:r>
                <a:rPr lang="de-DE" sz="1000" dirty="0" err="1">
                  <a:solidFill>
                    <a:srgbClr val="000000"/>
                  </a:solidFill>
                </a:rPr>
                <a:t>short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description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of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Content,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Approach </a:t>
              </a:r>
              <a:r>
                <a:rPr lang="de-DE" sz="1000" dirty="0" err="1">
                  <a:solidFill>
                    <a:srgbClr val="000000"/>
                  </a:solidFill>
                </a:rPr>
                <a:t>and</a:t>
              </a:r>
              <a:endParaRPr lang="de-DE" sz="1000" dirty="0">
                <a:solidFill>
                  <a:srgbClr val="000000"/>
                </a:solidFill>
              </a:endParaRP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 err="1">
                  <a:solidFill>
                    <a:srgbClr val="000000"/>
                  </a:solidFill>
                </a:rPr>
                <a:t>Aim</a:t>
              </a:r>
              <a:endParaRPr 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25" name="Textfeld 7"/>
            <p:cNvSpPr txBox="1"/>
            <p:nvPr/>
          </p:nvSpPr>
          <p:spPr>
            <a:xfrm>
              <a:off x="357634" y="3407027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3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774261" y="1413001"/>
            <a:ext cx="4128932" cy="252000"/>
            <a:chOff x="357634" y="1393826"/>
            <a:chExt cx="4128932" cy="252000"/>
          </a:xfrm>
        </p:grpSpPr>
        <p:sp>
          <p:nvSpPr>
            <p:cNvPr id="27" name="Textfeld 20"/>
            <p:cNvSpPr txBox="1"/>
            <p:nvPr/>
          </p:nvSpPr>
          <p:spPr>
            <a:xfrm>
              <a:off x="3470750" y="1442882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  <p:sp>
          <p:nvSpPr>
            <p:cNvPr id="28" name="Textfeld 21"/>
            <p:cNvSpPr txBox="1"/>
            <p:nvPr/>
          </p:nvSpPr>
          <p:spPr>
            <a:xfrm>
              <a:off x="662974" y="1442882"/>
              <a:ext cx="280681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solidFill>
                    <a:prstClr val="black"/>
                  </a:solidFill>
                  <a:latin typeface="Arial"/>
                  <a:cs typeface="Arial" charset="0"/>
                </a:rPr>
                <a:t>Topic 1 </a:t>
              </a:r>
              <a:r>
                <a:rPr lang="en-US" sz="1000" dirty="0">
                  <a:latin typeface="Arial"/>
                  <a:cs typeface="Arial" charset="0"/>
                </a:rPr>
                <a:t>–  </a:t>
              </a:r>
              <a:r>
                <a:rPr lang="de-DE" sz="1000" b="1" dirty="0" err="1">
                  <a:solidFill>
                    <a:prstClr val="black"/>
                  </a:solidFill>
                  <a:latin typeface="Arial"/>
                  <a:cs typeface="Arial" charset="0"/>
                </a:rPr>
                <a:t>Introduction</a:t>
              </a:r>
              <a:r>
                <a:rPr lang="de-DE" sz="1000" b="1" dirty="0">
                  <a:solidFill>
                    <a:prstClr val="black"/>
                  </a:solidFill>
                  <a:latin typeface="Arial"/>
                  <a:cs typeface="Arial" charset="0"/>
                </a:rPr>
                <a:t> </a:t>
              </a:r>
              <a:endParaRPr lang="de-DE" sz="1000" dirty="0">
                <a:solidFill>
                  <a:prstClr val="black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9" name="Textfeld 22"/>
            <p:cNvSpPr txBox="1"/>
            <p:nvPr/>
          </p:nvSpPr>
          <p:spPr>
            <a:xfrm>
              <a:off x="357634" y="1393826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rgbClr val="FFFFFF"/>
                  </a:solidFill>
                  <a:latin typeface="Arial"/>
                  <a:cs typeface="Arial" charset="0"/>
                </a:rPr>
                <a:t>1</a:t>
              </a:r>
            </a:p>
          </p:txBody>
        </p:sp>
      </p:grpSp>
      <p:cxnSp>
        <p:nvCxnSpPr>
          <p:cNvPr id="30" name="Straight Connector 45064"/>
          <p:cNvCxnSpPr/>
          <p:nvPr/>
        </p:nvCxnSpPr>
        <p:spPr>
          <a:xfrm>
            <a:off x="1778577" y="1828704"/>
            <a:ext cx="4188720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6222546" y="4209546"/>
            <a:ext cx="4134711" cy="828913"/>
            <a:chOff x="4698541" y="4190366"/>
            <a:chExt cx="4134711" cy="828913"/>
          </a:xfrm>
        </p:grpSpPr>
        <p:sp>
          <p:nvSpPr>
            <p:cNvPr id="32" name="Textfeld 5"/>
            <p:cNvSpPr txBox="1"/>
            <p:nvPr/>
          </p:nvSpPr>
          <p:spPr>
            <a:xfrm>
              <a:off x="5010626" y="4249838"/>
              <a:ext cx="2806810" cy="76944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7 Label</a:t>
              </a:r>
            </a:p>
            <a:p>
              <a:pPr>
                <a:buClr>
                  <a:srgbClr val="4C575F"/>
                </a:buClr>
              </a:pPr>
              <a:r>
                <a:rPr lang="de-DE" sz="1000" dirty="0">
                  <a:solidFill>
                    <a:srgbClr val="000000"/>
                  </a:solidFill>
                </a:rPr>
                <a:t>Details, a </a:t>
              </a:r>
              <a:r>
                <a:rPr lang="de-DE" sz="1000" dirty="0" err="1">
                  <a:solidFill>
                    <a:srgbClr val="000000"/>
                  </a:solidFill>
                </a:rPr>
                <a:t>short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description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of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Content,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Approach </a:t>
              </a:r>
              <a:r>
                <a:rPr lang="de-DE" sz="1000" dirty="0" err="1">
                  <a:solidFill>
                    <a:srgbClr val="000000"/>
                  </a:solidFill>
                </a:rPr>
                <a:t>and</a:t>
              </a:r>
              <a:endParaRPr lang="de-DE" sz="1000" dirty="0">
                <a:solidFill>
                  <a:srgbClr val="000000"/>
                </a:solidFill>
              </a:endParaRP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 err="1">
                  <a:solidFill>
                    <a:srgbClr val="000000"/>
                  </a:solidFill>
                </a:rPr>
                <a:t>Aim</a:t>
              </a:r>
              <a:endParaRPr 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33" name="Textfeld 7"/>
            <p:cNvSpPr txBox="1"/>
            <p:nvPr/>
          </p:nvSpPr>
          <p:spPr>
            <a:xfrm>
              <a:off x="4698541" y="4190366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7</a:t>
              </a:r>
            </a:p>
          </p:txBody>
        </p:sp>
        <p:sp>
          <p:nvSpPr>
            <p:cNvPr id="34" name="Textfeld 4"/>
            <p:cNvSpPr txBox="1"/>
            <p:nvPr/>
          </p:nvSpPr>
          <p:spPr>
            <a:xfrm>
              <a:off x="7817436" y="4249838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222546" y="2640375"/>
            <a:ext cx="4134711" cy="828913"/>
            <a:chOff x="4698541" y="2621195"/>
            <a:chExt cx="4134711" cy="828913"/>
          </a:xfrm>
        </p:grpSpPr>
        <p:sp>
          <p:nvSpPr>
            <p:cNvPr id="36" name="Textfeld 5"/>
            <p:cNvSpPr txBox="1"/>
            <p:nvPr/>
          </p:nvSpPr>
          <p:spPr>
            <a:xfrm>
              <a:off x="5010626" y="2680667"/>
              <a:ext cx="2806810" cy="76944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6 Label</a:t>
              </a:r>
            </a:p>
            <a:p>
              <a:pPr>
                <a:buClr>
                  <a:srgbClr val="4C575F"/>
                </a:buClr>
              </a:pPr>
              <a:r>
                <a:rPr lang="de-DE" sz="1000" dirty="0">
                  <a:solidFill>
                    <a:srgbClr val="000000"/>
                  </a:solidFill>
                </a:rPr>
                <a:t>Details, a </a:t>
              </a:r>
              <a:r>
                <a:rPr lang="de-DE" sz="1000" dirty="0" err="1">
                  <a:solidFill>
                    <a:srgbClr val="000000"/>
                  </a:solidFill>
                </a:rPr>
                <a:t>short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description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of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Content,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Approach </a:t>
              </a:r>
              <a:r>
                <a:rPr lang="de-DE" sz="1000" dirty="0" err="1">
                  <a:solidFill>
                    <a:srgbClr val="000000"/>
                  </a:solidFill>
                </a:rPr>
                <a:t>and</a:t>
              </a:r>
              <a:endParaRPr lang="de-DE" sz="1000" dirty="0">
                <a:solidFill>
                  <a:srgbClr val="000000"/>
                </a:solidFill>
              </a:endParaRP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 err="1">
                  <a:solidFill>
                    <a:srgbClr val="000000"/>
                  </a:solidFill>
                </a:rPr>
                <a:t>Aim</a:t>
              </a:r>
              <a:endParaRPr 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feld 7"/>
            <p:cNvSpPr txBox="1"/>
            <p:nvPr/>
          </p:nvSpPr>
          <p:spPr>
            <a:xfrm>
              <a:off x="4698541" y="2621195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6</a:t>
              </a:r>
            </a:p>
          </p:txBody>
        </p:sp>
        <p:sp>
          <p:nvSpPr>
            <p:cNvPr id="38" name="Textfeld 4"/>
            <p:cNvSpPr txBox="1"/>
            <p:nvPr/>
          </p:nvSpPr>
          <p:spPr>
            <a:xfrm>
              <a:off x="7817436" y="2680667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6222546" y="1413000"/>
            <a:ext cx="4134711" cy="828914"/>
            <a:chOff x="4698541" y="1393825"/>
            <a:chExt cx="4134711" cy="828914"/>
          </a:xfrm>
        </p:grpSpPr>
        <p:sp>
          <p:nvSpPr>
            <p:cNvPr id="40" name="Textfeld 5"/>
            <p:cNvSpPr txBox="1"/>
            <p:nvPr/>
          </p:nvSpPr>
          <p:spPr>
            <a:xfrm>
              <a:off x="5010626" y="1453298"/>
              <a:ext cx="2806810" cy="76944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5 Label</a:t>
              </a:r>
            </a:p>
            <a:p>
              <a:pPr>
                <a:buClr>
                  <a:srgbClr val="4C575F"/>
                </a:buClr>
              </a:pPr>
              <a:r>
                <a:rPr lang="de-DE" sz="1000" dirty="0">
                  <a:solidFill>
                    <a:srgbClr val="000000"/>
                  </a:solidFill>
                </a:rPr>
                <a:t>Details, a </a:t>
              </a:r>
              <a:r>
                <a:rPr lang="de-DE" sz="1000" dirty="0" err="1">
                  <a:solidFill>
                    <a:srgbClr val="000000"/>
                  </a:solidFill>
                </a:rPr>
                <a:t>short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description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</a:rPr>
                <a:t>of</a:t>
              </a:r>
              <a:r>
                <a:rPr lang="de-DE" sz="1000" dirty="0">
                  <a:solidFill>
                    <a:srgbClr val="000000"/>
                  </a:solidFill>
                </a:rPr>
                <a:t> 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Content,</a:t>
              </a: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>
                  <a:solidFill>
                    <a:srgbClr val="000000"/>
                  </a:solidFill>
                </a:rPr>
                <a:t>Approach </a:t>
              </a:r>
              <a:r>
                <a:rPr lang="de-DE" sz="1000" dirty="0" err="1">
                  <a:solidFill>
                    <a:srgbClr val="000000"/>
                  </a:solidFill>
                </a:rPr>
                <a:t>and</a:t>
              </a:r>
              <a:endParaRPr lang="de-DE" sz="1000" dirty="0">
                <a:solidFill>
                  <a:srgbClr val="000000"/>
                </a:solidFill>
              </a:endParaRPr>
            </a:p>
            <a:p>
              <a:pPr marL="176213" indent="-176213">
                <a:buClr>
                  <a:srgbClr val="4C575F"/>
                </a:buClr>
                <a:buFont typeface="Wingdings" pitchFamily="2" charset="2"/>
                <a:buChar char="§"/>
              </a:pPr>
              <a:r>
                <a:rPr lang="de-DE" sz="1000" dirty="0" err="1">
                  <a:solidFill>
                    <a:srgbClr val="000000"/>
                  </a:solidFill>
                </a:rPr>
                <a:t>Aim</a:t>
              </a:r>
              <a:endParaRPr 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41" name="Textfeld 7"/>
            <p:cNvSpPr txBox="1"/>
            <p:nvPr/>
          </p:nvSpPr>
          <p:spPr>
            <a:xfrm>
              <a:off x="4698541" y="1393825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5</a:t>
              </a:r>
            </a:p>
          </p:txBody>
        </p:sp>
        <p:sp>
          <p:nvSpPr>
            <p:cNvPr id="42" name="Textfeld 4"/>
            <p:cNvSpPr txBox="1"/>
            <p:nvPr/>
          </p:nvSpPr>
          <p:spPr>
            <a:xfrm>
              <a:off x="7817436" y="1453298"/>
              <a:ext cx="101581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222546" y="5436912"/>
            <a:ext cx="4135677" cy="252000"/>
            <a:chOff x="4698541" y="5417737"/>
            <a:chExt cx="4135677" cy="252000"/>
          </a:xfrm>
        </p:grpSpPr>
        <p:sp>
          <p:nvSpPr>
            <p:cNvPr id="44" name="Textfeld 4"/>
            <p:cNvSpPr txBox="1"/>
            <p:nvPr/>
          </p:nvSpPr>
          <p:spPr>
            <a:xfrm>
              <a:off x="7817436" y="5477209"/>
              <a:ext cx="1016782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  <p:sp>
          <p:nvSpPr>
            <p:cNvPr id="45" name="Textfeld 5"/>
            <p:cNvSpPr txBox="1"/>
            <p:nvPr/>
          </p:nvSpPr>
          <p:spPr>
            <a:xfrm>
              <a:off x="5010626" y="5477209"/>
              <a:ext cx="280681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Topic 8 </a:t>
              </a:r>
              <a:r>
                <a:rPr lang="en-US" sz="1000" dirty="0">
                  <a:latin typeface="Arial"/>
                  <a:cs typeface="Arial" charset="0"/>
                </a:rPr>
                <a:t> – Wrap up</a:t>
              </a:r>
              <a:r>
                <a:rPr lang="de-DE" sz="1000" b="1" dirty="0">
                  <a:latin typeface="Arial"/>
                  <a:cs typeface="Arial" charset="0"/>
                </a:rPr>
                <a:t> </a:t>
              </a:r>
            </a:p>
          </p:txBody>
        </p:sp>
        <p:sp>
          <p:nvSpPr>
            <p:cNvPr id="46" name="Textfeld 7"/>
            <p:cNvSpPr txBox="1"/>
            <p:nvPr/>
          </p:nvSpPr>
          <p:spPr>
            <a:xfrm>
              <a:off x="4698541" y="5417737"/>
              <a:ext cx="252000" cy="252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2685"/>
              <a:r>
                <a:rPr lang="en-US" sz="1000" b="1" dirty="0">
                  <a:solidFill>
                    <a:schemeClr val="bg1"/>
                  </a:solidFill>
                  <a:latin typeface="Arial"/>
                  <a:cs typeface="Arial" charset="0"/>
                </a:rPr>
                <a:t>8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725503" y="4397376"/>
            <a:ext cx="4235965" cy="341802"/>
            <a:chOff x="308871" y="4378201"/>
            <a:chExt cx="4235965" cy="34180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8" name="Rectangle 64"/>
            <p:cNvSpPr/>
            <p:nvPr/>
          </p:nvSpPr>
          <p:spPr>
            <a:xfrm>
              <a:off x="308871" y="4378201"/>
              <a:ext cx="4235965" cy="341802"/>
            </a:xfrm>
            <a:prstGeom prst="rect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92685"/>
              <a:endParaRPr lang="de-DE" sz="1300" dirty="0">
                <a:solidFill>
                  <a:schemeClr val="tx1"/>
                </a:solidFill>
              </a:endParaRPr>
            </a:p>
          </p:txBody>
        </p:sp>
        <p:sp>
          <p:nvSpPr>
            <p:cNvPr id="49" name="Textfeld 4"/>
            <p:cNvSpPr txBox="1"/>
            <p:nvPr/>
          </p:nvSpPr>
          <p:spPr>
            <a:xfrm>
              <a:off x="3469784" y="4472158"/>
              <a:ext cx="1016782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endParaRPr lang="en-US" sz="1000" dirty="0">
                <a:latin typeface="Arial"/>
                <a:cs typeface="Arial" charset="0"/>
              </a:endParaRPr>
            </a:p>
          </p:txBody>
        </p:sp>
        <p:sp>
          <p:nvSpPr>
            <p:cNvPr id="50" name="Textfeld 5"/>
            <p:cNvSpPr txBox="1"/>
            <p:nvPr/>
          </p:nvSpPr>
          <p:spPr>
            <a:xfrm>
              <a:off x="662974" y="4472158"/>
              <a:ext cx="2806810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Break (Lunch)</a:t>
              </a:r>
            </a:p>
          </p:txBody>
        </p:sp>
        <p:pic>
          <p:nvPicPr>
            <p:cNvPr id="51" name="Picture 10" descr="C:\Users\AWINDI~1\AppData\Local\Temp\1348583291_monotone_fork_spoon_eat_launch_restaurant_dinner.png"/>
            <p:cNvPicPr preferRelativeResize="0"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634" y="4423102"/>
              <a:ext cx="252000" cy="2520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xtLst/>
          </p:spPr>
        </p:pic>
        <p:sp>
          <p:nvSpPr>
            <p:cNvPr id="52" name="Textfeld 4"/>
            <p:cNvSpPr txBox="1"/>
            <p:nvPr/>
          </p:nvSpPr>
          <p:spPr>
            <a:xfrm>
              <a:off x="3469784" y="4472158"/>
              <a:ext cx="1016782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</p:grpSp>
      <p:cxnSp>
        <p:nvCxnSpPr>
          <p:cNvPr id="53" name="Straight Connector 113"/>
          <p:cNvCxnSpPr/>
          <p:nvPr/>
        </p:nvCxnSpPr>
        <p:spPr>
          <a:xfrm>
            <a:off x="6222546" y="5237682"/>
            <a:ext cx="413471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5064"/>
          <p:cNvCxnSpPr/>
          <p:nvPr/>
        </p:nvCxnSpPr>
        <p:spPr>
          <a:xfrm>
            <a:off x="6224593" y="2441142"/>
            <a:ext cx="421112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/>
          <p:cNvGrpSpPr/>
          <p:nvPr/>
        </p:nvGrpSpPr>
        <p:grpSpPr>
          <a:xfrm>
            <a:off x="6193909" y="3668511"/>
            <a:ext cx="4241800" cy="341802"/>
            <a:chOff x="4669909" y="3649336"/>
            <a:chExt cx="4241800" cy="34180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56" name="Rectangle 107"/>
            <p:cNvSpPr/>
            <p:nvPr/>
          </p:nvSpPr>
          <p:spPr>
            <a:xfrm>
              <a:off x="4669909" y="3649336"/>
              <a:ext cx="4241800" cy="341802"/>
            </a:xfrm>
            <a:prstGeom prst="rect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92685"/>
              <a:endParaRPr lang="de-DE" sz="1300" dirty="0">
                <a:solidFill>
                  <a:schemeClr val="tx1"/>
                </a:solidFill>
              </a:endParaRPr>
            </a:p>
          </p:txBody>
        </p:sp>
        <p:sp>
          <p:nvSpPr>
            <p:cNvPr id="57" name="Textfeld 4"/>
            <p:cNvSpPr txBox="1"/>
            <p:nvPr/>
          </p:nvSpPr>
          <p:spPr>
            <a:xfrm>
              <a:off x="7817436" y="3743293"/>
              <a:ext cx="1016782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r" defTabSz="892685"/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r>
                <a:rPr lang="en-US" sz="1000" dirty="0">
                  <a:latin typeface="Arial"/>
                  <a:cs typeface="Arial" charset="0"/>
                </a:rPr>
                <a:t> – </a:t>
              </a:r>
              <a:r>
                <a:rPr lang="en-US" sz="1000" dirty="0" err="1">
                  <a:latin typeface="Arial"/>
                  <a:cs typeface="Arial" charset="0"/>
                </a:rPr>
                <a:t>hh:mm</a:t>
              </a:r>
              <a:endParaRPr lang="en-US" sz="1000" dirty="0">
                <a:latin typeface="Arial"/>
                <a:cs typeface="Arial" charset="0"/>
              </a:endParaRPr>
            </a:p>
          </p:txBody>
        </p:sp>
        <p:sp>
          <p:nvSpPr>
            <p:cNvPr id="58" name="Textfeld 5"/>
            <p:cNvSpPr txBox="1"/>
            <p:nvPr/>
          </p:nvSpPr>
          <p:spPr>
            <a:xfrm>
              <a:off x="5010626" y="3743293"/>
              <a:ext cx="2806810" cy="153888"/>
            </a:xfrm>
            <a:prstGeom prst="rect">
              <a:avLst/>
            </a:prstGeom>
            <a:grpFill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892685"/>
              <a:r>
                <a:rPr lang="de-DE" sz="1000" b="1" dirty="0">
                  <a:latin typeface="Arial"/>
                  <a:cs typeface="Arial" charset="0"/>
                </a:rPr>
                <a:t>Break (Coffee)</a:t>
              </a:r>
            </a:p>
          </p:txBody>
        </p:sp>
        <p:grpSp>
          <p:nvGrpSpPr>
            <p:cNvPr id="59" name="Gruppieren 46"/>
            <p:cNvGrpSpPr/>
            <p:nvPr/>
          </p:nvGrpSpPr>
          <p:grpSpPr>
            <a:xfrm>
              <a:off x="4698541" y="3694237"/>
              <a:ext cx="252000" cy="252000"/>
              <a:chOff x="315514" y="3157168"/>
              <a:chExt cx="252000" cy="252000"/>
            </a:xfrm>
            <a:grpFill/>
          </p:grpSpPr>
          <p:sp>
            <p:nvSpPr>
              <p:cNvPr id="60" name="Textfeld 7"/>
              <p:cNvSpPr txBox="1"/>
              <p:nvPr/>
            </p:nvSpPr>
            <p:spPr>
              <a:xfrm>
                <a:off x="315514" y="3157168"/>
                <a:ext cx="252000" cy="2520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defTabSz="892685"/>
                <a:endParaRPr lang="en-US" sz="1000" b="1" dirty="0">
                  <a:latin typeface="Arial"/>
                  <a:cs typeface="Arial" charset="0"/>
                </a:endParaRPr>
              </a:p>
            </p:txBody>
          </p:sp>
          <p:pic>
            <p:nvPicPr>
              <p:cNvPr id="61" name="Picture 9" descr="C:\Users\AWINDI~1\AppData\Local\Temp\1348583164_coffe-mug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078" y="3197718"/>
                <a:ext cx="158873" cy="1709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65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685202491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>
          <a:xfrm>
            <a:off x="2208000" y="1412875"/>
            <a:ext cx="5688000" cy="4535488"/>
          </a:xfrm>
          <a:prstGeom prst="homePlate">
            <a:avLst>
              <a:gd name="adj" fmla="val 5771"/>
            </a:avLst>
          </a:prstGeom>
          <a:solidFill>
            <a:schemeClr val="bg2"/>
          </a:solidFill>
          <a:ln>
            <a:solidFill>
              <a:schemeClr val="accent6"/>
            </a:solidFill>
          </a:ln>
          <a:effectLst/>
        </p:spPr>
        <p:txBody>
          <a:bodyPr wrap="none" lIns="0" tIns="72000" rIns="0" bIns="0" anchor="t" anchorCtr="0"/>
          <a:lstStyle/>
          <a:p>
            <a:pPr marL="1588" indent="-1588">
              <a:spcBef>
                <a:spcPct val="20000"/>
              </a:spcBef>
              <a:buClr>
                <a:schemeClr val="accent2">
                  <a:lumMod val="75000"/>
                </a:schemeClr>
              </a:buClr>
            </a:pPr>
            <a:endParaRPr lang="de-DE" sz="2000" b="1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Column </a:t>
            </a:r>
            <a:r>
              <a:rPr lang="en-US" dirty="0"/>
              <a:t>Diagr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1776000" y="1916619"/>
            <a:ext cx="1152000" cy="352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Explanation:</a:t>
            </a:r>
          </a:p>
          <a:p>
            <a:pPr marL="174625" lvl="2" indent="-174625"/>
            <a:r>
              <a:rPr lang="de-DE" sz="1200" dirty="0"/>
              <a:t>xxx</a:t>
            </a:r>
          </a:p>
          <a:p>
            <a:pPr lvl="2"/>
            <a:endParaRPr lang="de-DE" sz="1200" dirty="0"/>
          </a:p>
        </p:txBody>
      </p:sp>
      <p:sp>
        <p:nvSpPr>
          <p:cNvPr id="34" name="Text Placeholder 7"/>
          <p:cNvSpPr txBox="1">
            <a:spLocks/>
          </p:cNvSpPr>
          <p:nvPr/>
        </p:nvSpPr>
        <p:spPr>
          <a:xfrm>
            <a:off x="8040000" y="1736619"/>
            <a:ext cx="2376000" cy="388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/>
              <a:t>Key </a:t>
            </a:r>
            <a:r>
              <a:rPr lang="de-DE" sz="1600" dirty="0" err="1"/>
              <a:t>message</a:t>
            </a:r>
            <a:endParaRPr lang="de-DE" sz="1600" dirty="0"/>
          </a:p>
          <a:p>
            <a:pPr lvl="2"/>
            <a:r>
              <a:rPr lang="de-DE" sz="1400" dirty="0" err="1"/>
              <a:t>message</a:t>
            </a:r>
            <a:r>
              <a:rPr lang="de-DE" sz="1400" dirty="0"/>
              <a:t> 1</a:t>
            </a:r>
          </a:p>
          <a:p>
            <a:pPr lvl="2"/>
            <a:r>
              <a:rPr lang="de-DE" sz="1400" dirty="0" err="1"/>
              <a:t>message</a:t>
            </a:r>
            <a:r>
              <a:rPr lang="de-DE" sz="1400" dirty="0"/>
              <a:t> 2</a:t>
            </a:r>
          </a:p>
          <a:p>
            <a:pPr lvl="2"/>
            <a:r>
              <a:rPr lang="de-DE" sz="1400" dirty="0" err="1"/>
              <a:t>message</a:t>
            </a:r>
            <a:r>
              <a:rPr lang="de-DE" sz="1400" dirty="0"/>
              <a:t> 3</a:t>
            </a:r>
          </a:p>
          <a:p>
            <a:pPr lvl="2"/>
            <a:endParaRPr lang="de-DE" sz="1400" dirty="0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81580602"/>
              </p:ext>
            </p:extLst>
          </p:nvPr>
        </p:nvGraphicFramePr>
        <p:xfrm>
          <a:off x="3048000" y="1613000"/>
          <a:ext cx="4704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Text Placeholder 7"/>
          <p:cNvSpPr txBox="1">
            <a:spLocks/>
          </p:cNvSpPr>
          <p:nvPr/>
        </p:nvSpPr>
        <p:spPr>
          <a:xfrm>
            <a:off x="3288000" y="1517673"/>
            <a:ext cx="13680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b="0" dirty="0"/>
              <a:t>in %</a:t>
            </a:r>
            <a:endParaRPr lang="de-DE" sz="1200" b="0" dirty="0"/>
          </a:p>
        </p:txBody>
      </p:sp>
      <p:sp>
        <p:nvSpPr>
          <p:cNvPr id="15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686594333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600000" y="477000"/>
            <a:ext cx="1656000" cy="144000"/>
          </a:xfrm>
          <a:prstGeom prst="rect">
            <a:avLst/>
          </a:prstGeom>
          <a:noFill/>
          <a:ln w="9525" cap="flat" cmpd="sng" algn="ctr">
            <a:solidFill>
              <a:schemeClr val="accent4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Standar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ANT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0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6" name="Rectangle 5"/>
          <p:cNvSpPr/>
          <p:nvPr/>
        </p:nvSpPr>
        <p:spPr>
          <a:xfrm>
            <a:off x="6600000" y="261000"/>
            <a:ext cx="1656000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Standard</a:t>
            </a:r>
          </a:p>
        </p:txBody>
      </p:sp>
      <p:sp>
        <p:nvSpPr>
          <p:cNvPr id="7" name="Diamond 6"/>
          <p:cNvSpPr/>
          <p:nvPr/>
        </p:nvSpPr>
        <p:spPr>
          <a:xfrm>
            <a:off x="8184000" y="261000"/>
            <a:ext cx="144000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8" name="Isosceles Triangle 7"/>
          <p:cNvSpPr/>
          <p:nvPr/>
        </p:nvSpPr>
        <p:spPr>
          <a:xfrm>
            <a:off x="8400000" y="261000"/>
            <a:ext cx="144000" cy="144000"/>
          </a:xfrm>
          <a:prstGeom prst="triangle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9" name="Diamond 8"/>
          <p:cNvSpPr/>
          <p:nvPr/>
        </p:nvSpPr>
        <p:spPr>
          <a:xfrm>
            <a:off x="8184000" y="477000"/>
            <a:ext cx="144000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0" name="Isosceles Triangle 9"/>
          <p:cNvSpPr/>
          <p:nvPr/>
        </p:nvSpPr>
        <p:spPr>
          <a:xfrm>
            <a:off x="8400000" y="477000"/>
            <a:ext cx="144000" cy="144000"/>
          </a:xfrm>
          <a:prstGeom prst="triangle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265584" y="1845000"/>
            <a:ext cx="7150004" cy="1944000"/>
          </a:xfrm>
          <a:prstGeom prst="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endParaRPr lang="de-DE" sz="12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265584" y="2493000"/>
            <a:ext cx="7150004" cy="64800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endParaRPr lang="de-DE" sz="12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1" name="Straight Arrow Connector 60"/>
          <p:cNvCxnSpPr>
            <a:stCxn id="49" idx="3"/>
            <a:endCxn id="59" idx="0"/>
          </p:cNvCxnSpPr>
          <p:nvPr/>
        </p:nvCxnSpPr>
        <p:spPr>
          <a:xfrm>
            <a:off x="5872361" y="2205000"/>
            <a:ext cx="446875" cy="1224000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0"/>
          <p:cNvCxnSpPr>
            <a:stCxn id="58" idx="3"/>
            <a:endCxn id="59" idx="0"/>
          </p:cNvCxnSpPr>
          <p:nvPr/>
        </p:nvCxnSpPr>
        <p:spPr>
          <a:xfrm>
            <a:off x="6244757" y="2925000"/>
            <a:ext cx="74479" cy="5040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3265584" y="1413000"/>
            <a:ext cx="3575002" cy="432000"/>
            <a:chOff x="1692000" y="1773000"/>
            <a:chExt cx="3456000" cy="432000"/>
          </a:xfrm>
        </p:grpSpPr>
        <p:sp>
          <p:nvSpPr>
            <p:cNvPr id="13" name="Rectangle 12"/>
            <p:cNvSpPr/>
            <p:nvPr/>
          </p:nvSpPr>
          <p:spPr>
            <a:xfrm>
              <a:off x="1692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1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980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2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268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3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556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4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44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5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32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6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20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7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708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8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996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09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284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10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572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11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860000" y="1989000"/>
              <a:ext cx="288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12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692000" y="1773000"/>
              <a:ext cx="3456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2014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840586" y="1413000"/>
            <a:ext cx="3575002" cy="432000"/>
            <a:chOff x="5292000" y="1269000"/>
            <a:chExt cx="3456000" cy="432000"/>
          </a:xfrm>
        </p:grpSpPr>
        <p:sp>
          <p:nvSpPr>
            <p:cNvPr id="29" name="Rectangle 28"/>
            <p:cNvSpPr/>
            <p:nvPr/>
          </p:nvSpPr>
          <p:spPr>
            <a:xfrm>
              <a:off x="5292000" y="1485000"/>
              <a:ext cx="864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Q1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156000" y="1485000"/>
              <a:ext cx="864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Q2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7020000" y="1485000"/>
              <a:ext cx="864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Q3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7884000" y="1485000"/>
              <a:ext cx="864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Q4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292000" y="1269000"/>
              <a:ext cx="3456000" cy="216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accent6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2015</a:t>
              </a:r>
            </a:p>
          </p:txBody>
        </p:sp>
      </p:grpSp>
      <p:sp>
        <p:nvSpPr>
          <p:cNvPr id="44" name="Rectangle 43"/>
          <p:cNvSpPr/>
          <p:nvPr/>
        </p:nvSpPr>
        <p:spPr>
          <a:xfrm>
            <a:off x="1776000" y="1845000"/>
            <a:ext cx="1489584" cy="64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 anchorCtr="0"/>
          <a:lstStyle/>
          <a:p>
            <a:r>
              <a:rPr lang="de-DE" sz="1200" b="1" dirty="0">
                <a:solidFill>
                  <a:srgbClr val="000000"/>
                </a:solidFill>
                <a:latin typeface="Arial Narrow" panose="020B0606020202030204" pitchFamily="34" charset="0"/>
              </a:rPr>
              <a:t>Business Partner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776000" y="2493000"/>
            <a:ext cx="1489584" cy="64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 anchorCtr="0"/>
          <a:lstStyle/>
          <a:p>
            <a:r>
              <a:rPr lang="de-DE" sz="1200" b="1" dirty="0" err="1">
                <a:solidFill>
                  <a:srgbClr val="000000"/>
                </a:solidFill>
                <a:latin typeface="Arial Narrow" panose="020B0606020202030204" pitchFamily="34" charset="0"/>
              </a:rPr>
              <a:t>Deposit</a:t>
            </a:r>
            <a:r>
              <a:rPr lang="de-DE" sz="1200" b="1" dirty="0">
                <a:solidFill>
                  <a:srgbClr val="000000"/>
                </a:solidFill>
                <a:latin typeface="Arial Narrow" panose="020B0606020202030204" pitchFamily="34" charset="0"/>
              </a:rPr>
              <a:t> Management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563501" y="1917000"/>
            <a:ext cx="1713022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Planung</a:t>
            </a:r>
          </a:p>
        </p:txBody>
      </p:sp>
      <p:sp>
        <p:nvSpPr>
          <p:cNvPr id="47" name="Diamond 46"/>
          <p:cNvSpPr/>
          <p:nvPr/>
        </p:nvSpPr>
        <p:spPr>
          <a:xfrm>
            <a:off x="5202044" y="1917000"/>
            <a:ext cx="148958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457251" y="2133000"/>
            <a:ext cx="1340626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Buil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n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test</a:t>
            </a:r>
            <a:endParaRPr lang="de-DE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Diamond 48"/>
          <p:cNvSpPr/>
          <p:nvPr/>
        </p:nvSpPr>
        <p:spPr>
          <a:xfrm>
            <a:off x="5723398" y="2133000"/>
            <a:ext cx="148958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319232" y="3429000"/>
            <a:ext cx="893750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Rollout</a:t>
            </a:r>
          </a:p>
        </p:txBody>
      </p:sp>
      <p:sp>
        <p:nvSpPr>
          <p:cNvPr id="52" name="Rectangle 51"/>
          <p:cNvSpPr/>
          <p:nvPr/>
        </p:nvSpPr>
        <p:spPr>
          <a:xfrm>
            <a:off x="7212982" y="3429000"/>
            <a:ext cx="1713022" cy="144000"/>
          </a:xfrm>
          <a:prstGeom prst="rect">
            <a:avLst/>
          </a:prstGeom>
          <a:noFill/>
          <a:ln w="9525" cap="flat" cmpd="sng" algn="ctr">
            <a:solidFill>
              <a:schemeClr val="accent4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endParaRPr lang="de-DE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Diamond 52"/>
          <p:cNvSpPr/>
          <p:nvPr/>
        </p:nvSpPr>
        <p:spPr>
          <a:xfrm>
            <a:off x="8851525" y="3429000"/>
            <a:ext cx="148958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1" name="Diamond 50"/>
          <p:cNvSpPr/>
          <p:nvPr/>
        </p:nvSpPr>
        <p:spPr>
          <a:xfrm>
            <a:off x="7138503" y="3429000"/>
            <a:ext cx="148958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776000" y="3141000"/>
            <a:ext cx="1489584" cy="64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 anchorCtr="0"/>
          <a:lstStyle/>
          <a:p>
            <a:r>
              <a:rPr lang="de-DE" sz="1200" b="1" dirty="0">
                <a:solidFill>
                  <a:srgbClr val="000000"/>
                </a:solidFill>
                <a:latin typeface="Arial Narrow" panose="020B0606020202030204" pitchFamily="34" charset="0"/>
              </a:rPr>
              <a:t>Rollout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563501" y="2637000"/>
            <a:ext cx="1713022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Planung</a:t>
            </a:r>
          </a:p>
        </p:txBody>
      </p:sp>
      <p:sp>
        <p:nvSpPr>
          <p:cNvPr id="56" name="Diamond 55"/>
          <p:cNvSpPr/>
          <p:nvPr/>
        </p:nvSpPr>
        <p:spPr>
          <a:xfrm>
            <a:off x="5202044" y="2637000"/>
            <a:ext cx="148958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457251" y="2853000"/>
            <a:ext cx="1713022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Buil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n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test</a:t>
            </a:r>
            <a:endParaRPr lang="de-DE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58" name="Diamond 57"/>
          <p:cNvSpPr/>
          <p:nvPr/>
        </p:nvSpPr>
        <p:spPr>
          <a:xfrm>
            <a:off x="6095794" y="2853000"/>
            <a:ext cx="148958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9" name="Isosceles Triangle 58"/>
          <p:cNvSpPr/>
          <p:nvPr/>
        </p:nvSpPr>
        <p:spPr>
          <a:xfrm>
            <a:off x="6244752" y="3429000"/>
            <a:ext cx="148958" cy="144000"/>
          </a:xfrm>
          <a:prstGeom prst="triangle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3" name="Isosceles Triangle 72"/>
          <p:cNvSpPr/>
          <p:nvPr/>
        </p:nvSpPr>
        <p:spPr>
          <a:xfrm>
            <a:off x="5499960" y="5877000"/>
            <a:ext cx="148958" cy="144000"/>
          </a:xfrm>
          <a:prstGeom prst="triangle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351007" y="6021000"/>
            <a:ext cx="446875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pPr algn="ctr"/>
            <a:r>
              <a:rPr lang="de-DE" sz="1000" b="1" dirty="0" err="1">
                <a:solidFill>
                  <a:srgbClr val="C00000"/>
                </a:solidFill>
                <a:latin typeface="Arial Narrow" panose="020B0606020202030204" pitchFamily="34" charset="0"/>
              </a:rPr>
              <a:t>today</a:t>
            </a:r>
            <a:endParaRPr lang="de-DE" sz="10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6" name="Isosceles Triangle 75"/>
          <p:cNvSpPr/>
          <p:nvPr/>
        </p:nvSpPr>
        <p:spPr>
          <a:xfrm>
            <a:off x="7138503" y="5877000"/>
            <a:ext cx="148958" cy="144000"/>
          </a:xfrm>
          <a:prstGeom prst="triangle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6989549" y="6021000"/>
            <a:ext cx="446875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pPr algn="ctr"/>
            <a:r>
              <a:rPr lang="de-DE" sz="1000" b="1" dirty="0">
                <a:solidFill>
                  <a:schemeClr val="tx1"/>
                </a:solidFill>
                <a:latin typeface="Arial Narrow" panose="020B0606020202030204" pitchFamily="34" charset="0"/>
              </a:rPr>
              <a:t>Global </a:t>
            </a:r>
            <a:r>
              <a:rPr lang="de-DE" sz="1000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Golive</a:t>
            </a:r>
            <a:endParaRPr lang="de-DE" sz="10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776000" y="3789000"/>
            <a:ext cx="1489584" cy="1944000"/>
          </a:xfrm>
          <a:prstGeom prst="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 anchorCtr="0"/>
          <a:lstStyle/>
          <a:p>
            <a:endParaRPr lang="de-DE" sz="12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776000" y="4077000"/>
            <a:ext cx="1489584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200" b="1" dirty="0">
                <a:solidFill>
                  <a:schemeClr val="tx1"/>
                </a:solidFill>
                <a:latin typeface="Arial Narrow" panose="020B0606020202030204" pitchFamily="34" charset="0"/>
              </a:rPr>
              <a:t>Business Partner</a:t>
            </a:r>
          </a:p>
        </p:txBody>
      </p:sp>
      <p:cxnSp>
        <p:nvCxnSpPr>
          <p:cNvPr id="80" name="Straight Arrow Connector 60"/>
          <p:cNvCxnSpPr>
            <a:stCxn id="85" idx="3"/>
            <a:endCxn id="94" idx="0"/>
          </p:cNvCxnSpPr>
          <p:nvPr/>
        </p:nvCxnSpPr>
        <p:spPr>
          <a:xfrm>
            <a:off x="5872361" y="4365000"/>
            <a:ext cx="446875" cy="1080000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60"/>
          <p:cNvCxnSpPr>
            <a:stCxn id="93" idx="3"/>
            <a:endCxn id="94" idx="0"/>
          </p:cNvCxnSpPr>
          <p:nvPr/>
        </p:nvCxnSpPr>
        <p:spPr>
          <a:xfrm>
            <a:off x="6244757" y="5085000"/>
            <a:ext cx="74479" cy="3600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563501" y="4077000"/>
            <a:ext cx="1713022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Planung</a:t>
            </a:r>
          </a:p>
        </p:txBody>
      </p:sp>
      <p:sp>
        <p:nvSpPr>
          <p:cNvPr id="83" name="Diamond 82"/>
          <p:cNvSpPr/>
          <p:nvPr/>
        </p:nvSpPr>
        <p:spPr>
          <a:xfrm>
            <a:off x="5202044" y="4077000"/>
            <a:ext cx="148958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4457251" y="4293000"/>
            <a:ext cx="1340626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Buil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n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test</a:t>
            </a:r>
            <a:endParaRPr lang="de-DE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85" name="Diamond 84"/>
          <p:cNvSpPr/>
          <p:nvPr/>
        </p:nvSpPr>
        <p:spPr>
          <a:xfrm>
            <a:off x="5723398" y="4293000"/>
            <a:ext cx="148958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6319232" y="5445000"/>
            <a:ext cx="893750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Rollout</a:t>
            </a:r>
          </a:p>
        </p:txBody>
      </p:sp>
      <p:sp>
        <p:nvSpPr>
          <p:cNvPr id="87" name="Rectangle 86"/>
          <p:cNvSpPr/>
          <p:nvPr/>
        </p:nvSpPr>
        <p:spPr>
          <a:xfrm>
            <a:off x="7212982" y="5445000"/>
            <a:ext cx="1713022" cy="144000"/>
          </a:xfrm>
          <a:prstGeom prst="rect">
            <a:avLst/>
          </a:prstGeom>
          <a:noFill/>
          <a:ln w="9525" cap="flat" cmpd="sng" algn="ctr">
            <a:solidFill>
              <a:schemeClr val="accent4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endParaRPr lang="de-DE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88" name="Diamond 87"/>
          <p:cNvSpPr/>
          <p:nvPr/>
        </p:nvSpPr>
        <p:spPr>
          <a:xfrm>
            <a:off x="8851525" y="5445000"/>
            <a:ext cx="148958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9" name="Diamond 88"/>
          <p:cNvSpPr/>
          <p:nvPr/>
        </p:nvSpPr>
        <p:spPr>
          <a:xfrm>
            <a:off x="7138503" y="5445000"/>
            <a:ext cx="148958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63501" y="4797000"/>
            <a:ext cx="1713022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Planung</a:t>
            </a:r>
          </a:p>
        </p:txBody>
      </p:sp>
      <p:sp>
        <p:nvSpPr>
          <p:cNvPr id="91" name="Diamond 90"/>
          <p:cNvSpPr/>
          <p:nvPr/>
        </p:nvSpPr>
        <p:spPr>
          <a:xfrm>
            <a:off x="5202044" y="4797000"/>
            <a:ext cx="148958" cy="144000"/>
          </a:xfrm>
          <a:prstGeom prst="diamond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4457251" y="5013000"/>
            <a:ext cx="1713022" cy="144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Buil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nd</a:t>
            </a:r>
            <a:r>
              <a:rPr lang="de-DE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test</a:t>
            </a:r>
            <a:endParaRPr lang="de-DE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93" name="Diamond 92"/>
          <p:cNvSpPr/>
          <p:nvPr/>
        </p:nvSpPr>
        <p:spPr>
          <a:xfrm>
            <a:off x="6095794" y="5013000"/>
            <a:ext cx="148958" cy="144000"/>
          </a:xfrm>
          <a:prstGeom prst="diamond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94" name="Isosceles Triangle 93"/>
          <p:cNvSpPr/>
          <p:nvPr/>
        </p:nvSpPr>
        <p:spPr>
          <a:xfrm>
            <a:off x="6244752" y="5445000"/>
            <a:ext cx="148958" cy="144000"/>
          </a:xfrm>
          <a:prstGeom prst="triangle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776000" y="4797000"/>
            <a:ext cx="1489584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200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Deposit</a:t>
            </a:r>
            <a:r>
              <a:rPr lang="de-DE" sz="1200" b="1" dirty="0">
                <a:solidFill>
                  <a:schemeClr val="tx1"/>
                </a:solidFill>
                <a:latin typeface="Arial Narrow" panose="020B0606020202030204" pitchFamily="34" charset="0"/>
              </a:rPr>
              <a:t> Management</a:t>
            </a:r>
          </a:p>
        </p:txBody>
      </p:sp>
      <p:sp>
        <p:nvSpPr>
          <p:cNvPr id="96" name="Rectangle 95"/>
          <p:cNvSpPr/>
          <p:nvPr/>
        </p:nvSpPr>
        <p:spPr>
          <a:xfrm>
            <a:off x="1776000" y="5445000"/>
            <a:ext cx="1489584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40000"/>
                    <a:lumOff val="6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 anchorCtr="0"/>
          <a:lstStyle/>
          <a:p>
            <a:r>
              <a:rPr lang="de-DE" sz="1200" b="1" dirty="0">
                <a:solidFill>
                  <a:schemeClr val="tx1"/>
                </a:solidFill>
                <a:latin typeface="Arial Narrow" panose="020B0606020202030204" pitchFamily="34" charset="0"/>
              </a:rPr>
              <a:t>Rollout</a:t>
            </a:r>
          </a:p>
        </p:txBody>
      </p:sp>
      <p:sp>
        <p:nvSpPr>
          <p:cNvPr id="97" name="Rectangle 96"/>
          <p:cNvSpPr/>
          <p:nvPr/>
        </p:nvSpPr>
        <p:spPr>
          <a:xfrm>
            <a:off x="3265584" y="3789000"/>
            <a:ext cx="7150004" cy="1944000"/>
          </a:xfrm>
          <a:prstGeom prst="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endParaRPr lang="de-DE" sz="12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1776000" y="4581000"/>
            <a:ext cx="8639588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1776000" y="5301000"/>
            <a:ext cx="8639588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5574440" y="1845000"/>
            <a:ext cx="0" cy="403200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7212982" y="1845000"/>
            <a:ext cx="0" cy="403200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60876444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016005" y="1557005"/>
            <a:ext cx="5663839" cy="4741037"/>
          </a:xfrm>
          <a:prstGeom prst="rect">
            <a:avLst/>
          </a:prstGeom>
          <a:blipFill dpi="0" rotWithShape="1">
            <a:blip r:embed="rId5" cstate="print">
              <a:alphaModFix amt="23000"/>
              <a:grayscl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raphics</a:t>
            </a:r>
          </a:p>
        </p:txBody>
      </p:sp>
      <p:sp>
        <p:nvSpPr>
          <p:cNvPr id="68" name="Slide Number Placehold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FFF6660-965A-4D59-A4F1-0EDF90BDA972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pic>
        <p:nvPicPr>
          <p:cNvPr id="14" name="Picture 13" descr="Steine"/>
          <p:cNvPicPr>
            <a:picLocks noChangeArrowheads="1"/>
          </p:cNvPicPr>
          <p:nvPr>
            <p:custDataLst>
              <p:tags r:id="rId1"/>
            </p:custDataLst>
          </p:nvPr>
        </p:nvPicPr>
        <p:blipFill rotWithShape="1">
          <a:blip r:embed="rId6" cstate="print"/>
          <a:stretch/>
        </p:blipFill>
        <p:spPr bwMode="gray">
          <a:xfrm>
            <a:off x="3936000" y="1413000"/>
            <a:ext cx="1788796" cy="237600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</p:pic>
      <p:pic>
        <p:nvPicPr>
          <p:cNvPr id="15" name="Picture 17" descr="Pen_And_Signatur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 l="38449" r="18542"/>
          <a:stretch>
            <a:fillRect/>
          </a:stretch>
        </p:blipFill>
        <p:spPr bwMode="gray">
          <a:xfrm>
            <a:off x="1776005" y="1413005"/>
            <a:ext cx="2079625" cy="3354765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</p:spPr>
      </p:pic>
      <p:pic>
        <p:nvPicPr>
          <p:cNvPr id="17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 l="13721" t="5562" r="1927"/>
          <a:stretch>
            <a:fillRect/>
          </a:stretch>
        </p:blipFill>
        <p:spPr bwMode="gray">
          <a:xfrm>
            <a:off x="5808005" y="1413005"/>
            <a:ext cx="3443287" cy="3195637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</p:spPr>
      </p:pic>
      <p:sp>
        <p:nvSpPr>
          <p:cNvPr id="1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736940553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002322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ituation-</a:t>
            </a:r>
            <a:r>
              <a:rPr lang="de-DE" dirty="0" err="1"/>
              <a:t>Complicatio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4" name="Text Placeholder 7"/>
          <p:cNvSpPr txBox="1">
            <a:spLocks/>
          </p:cNvSpPr>
          <p:nvPr/>
        </p:nvSpPr>
        <p:spPr>
          <a:xfrm>
            <a:off x="1776000" y="1341638"/>
            <a:ext cx="3784162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Situation</a:t>
            </a:r>
          </a:p>
        </p:txBody>
      </p:sp>
      <p:sp>
        <p:nvSpPr>
          <p:cNvPr id="25" name="Text Placeholder 7"/>
          <p:cNvSpPr txBox="1">
            <a:spLocks/>
          </p:cNvSpPr>
          <p:nvPr/>
        </p:nvSpPr>
        <p:spPr>
          <a:xfrm>
            <a:off x="6096000" y="1341638"/>
            <a:ext cx="3784162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 err="1"/>
              <a:t>Complication</a:t>
            </a:r>
            <a:endParaRPr lang="de-DE" sz="1400" dirty="0"/>
          </a:p>
        </p:txBody>
      </p:sp>
      <p:sp>
        <p:nvSpPr>
          <p:cNvPr id="26" name="Text Placeholder 7"/>
          <p:cNvSpPr txBox="1">
            <a:spLocks/>
          </p:cNvSpPr>
          <p:nvPr/>
        </p:nvSpPr>
        <p:spPr>
          <a:xfrm>
            <a:off x="6096000" y="1701638"/>
            <a:ext cx="4320000" cy="42467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  <a:p>
            <a:pPr lvl="2"/>
            <a:endParaRPr lang="de-DE" sz="1400" dirty="0"/>
          </a:p>
        </p:txBody>
      </p:sp>
      <p:sp>
        <p:nvSpPr>
          <p:cNvPr id="27" name="Text Placeholder 7"/>
          <p:cNvSpPr txBox="1">
            <a:spLocks/>
          </p:cNvSpPr>
          <p:nvPr/>
        </p:nvSpPr>
        <p:spPr>
          <a:xfrm>
            <a:off x="1776000" y="1701638"/>
            <a:ext cx="4162558" cy="4246726"/>
          </a:xfrm>
          <a:prstGeom prst="homePlate">
            <a:avLst>
              <a:gd name="adj" fmla="val 13042"/>
            </a:avLst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  <a:p>
            <a:pPr lvl="2"/>
            <a:endParaRPr lang="de-DE" sz="1400" dirty="0"/>
          </a:p>
        </p:txBody>
      </p:sp>
      <p:sp>
        <p:nvSpPr>
          <p:cNvPr id="1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935510398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endParaRPr lang="de-AT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742573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919102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ituation-</a:t>
            </a:r>
            <a:r>
              <a:rPr lang="de-DE" dirty="0" err="1"/>
              <a:t>Complicatio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4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 rot="5400000">
            <a:off x="4804989" y="3591857"/>
            <a:ext cx="2979722" cy="466299"/>
          </a:xfrm>
          <a:prstGeom prst="triangle">
            <a:avLst>
              <a:gd name="adj" fmla="val 50000"/>
            </a:avLst>
          </a:prstGeom>
          <a:solidFill>
            <a:srgbClr val="335182"/>
          </a:solidFill>
          <a:ln w="50800">
            <a:solidFill>
              <a:schemeClr val="bg1"/>
            </a:solidFill>
            <a:miter lim="800000"/>
            <a:headEnd/>
            <a:tailEnd/>
          </a:ln>
        </p:spPr>
        <p:txBody>
          <a:bodyPr wrap="none" lIns="93246" tIns="46623" rIns="93246" bIns="46623" anchor="ctr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3" name="Text Placeholder 7"/>
          <p:cNvSpPr txBox="1">
            <a:spLocks/>
          </p:cNvSpPr>
          <p:nvPr/>
        </p:nvSpPr>
        <p:spPr>
          <a:xfrm>
            <a:off x="1776000" y="1341638"/>
            <a:ext cx="3784162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Situation</a:t>
            </a:r>
          </a:p>
        </p:txBody>
      </p:sp>
      <p:sp>
        <p:nvSpPr>
          <p:cNvPr id="17" name="Text Placeholder 7"/>
          <p:cNvSpPr txBox="1">
            <a:spLocks/>
          </p:cNvSpPr>
          <p:nvPr/>
        </p:nvSpPr>
        <p:spPr>
          <a:xfrm>
            <a:off x="1776000" y="1701638"/>
            <a:ext cx="4162558" cy="424672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18" name="Text Placeholder 7"/>
          <p:cNvSpPr txBox="1">
            <a:spLocks/>
          </p:cNvSpPr>
          <p:nvPr/>
        </p:nvSpPr>
        <p:spPr>
          <a:xfrm>
            <a:off x="6647058" y="3068681"/>
            <a:ext cx="3768535" cy="1512640"/>
          </a:xfrm>
          <a:prstGeom prst="rect">
            <a:avLst/>
          </a:prstGeom>
          <a:solidFill>
            <a:srgbClr val="B3D5F2"/>
          </a:solidFill>
          <a:ln w="12700">
            <a:noFill/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/>
              <a:t>Text 1</a:t>
            </a:r>
          </a:p>
        </p:txBody>
      </p:sp>
      <p:sp>
        <p:nvSpPr>
          <p:cNvPr id="15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28846574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ituation-</a:t>
            </a:r>
            <a:r>
              <a:rPr lang="de-DE" dirty="0" err="1"/>
              <a:t>Complica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5" name="Line 2"/>
          <p:cNvSpPr>
            <a:spLocks noChangeShapeType="1"/>
          </p:cNvSpPr>
          <p:nvPr/>
        </p:nvSpPr>
        <p:spPr bwMode="auto">
          <a:xfrm>
            <a:off x="1776412" y="1850576"/>
            <a:ext cx="269520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46" tIns="46623" rIns="93246" bIns="46623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Line 3"/>
          <p:cNvSpPr>
            <a:spLocks noChangeShapeType="1"/>
          </p:cNvSpPr>
          <p:nvPr/>
        </p:nvSpPr>
        <p:spPr bwMode="auto">
          <a:xfrm>
            <a:off x="1776412" y="3511707"/>
            <a:ext cx="8639176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46" tIns="46623" rIns="93246" bIns="46623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6187116" y="1401364"/>
            <a:ext cx="3788181" cy="819696"/>
          </a:xfrm>
          <a:prstGeom prst="rect">
            <a:avLst/>
          </a:prstGeom>
          <a:solidFill>
            <a:srgbClr val="B3D5F2"/>
          </a:solidFill>
          <a:ln w="25400">
            <a:solidFill>
              <a:schemeClr val="bg1"/>
            </a:solidFill>
            <a:miter lim="800000"/>
            <a:headEnd/>
            <a:tailEnd/>
          </a:ln>
        </p:spPr>
        <p:txBody>
          <a:bodyPr wrap="none" lIns="252000" tIns="46623" rIns="93246" bIns="46623" anchor="ctr"/>
          <a:lstStyle/>
          <a:p>
            <a:pPr>
              <a:lnSpc>
                <a:spcPct val="95000"/>
              </a:lnSpc>
            </a:pPr>
            <a:r>
              <a:rPr lang="de-DE" sz="1600" b="1" dirty="0"/>
              <a:t>Text</a:t>
            </a:r>
          </a:p>
        </p:txBody>
      </p:sp>
      <p:sp>
        <p:nvSpPr>
          <p:cNvPr id="18" name="AutoShape 8"/>
          <p:cNvSpPr>
            <a:spLocks noChangeArrowheads="1"/>
          </p:cNvSpPr>
          <p:nvPr/>
        </p:nvSpPr>
        <p:spPr bwMode="auto">
          <a:xfrm>
            <a:off x="2300236" y="1401364"/>
            <a:ext cx="4019723" cy="819696"/>
          </a:xfrm>
          <a:prstGeom prst="homePlate">
            <a:avLst>
              <a:gd name="adj" fmla="val 33764"/>
            </a:avLst>
          </a:prstGeom>
          <a:solidFill>
            <a:schemeClr val="accent6">
              <a:lumMod val="20000"/>
              <a:lumOff val="80000"/>
            </a:schemeClr>
          </a:solidFill>
          <a:ln w="25400">
            <a:solidFill>
              <a:schemeClr val="bg1"/>
            </a:solidFill>
            <a:miter lim="800000"/>
            <a:headEnd/>
            <a:tailEnd/>
          </a:ln>
        </p:spPr>
        <p:txBody>
          <a:bodyPr wrap="none" lIns="93246" tIns="46623" rIns="93246" bIns="46623" anchor="ctr"/>
          <a:lstStyle/>
          <a:p>
            <a:pPr>
              <a:lnSpc>
                <a:spcPct val="95000"/>
              </a:lnSpc>
            </a:pPr>
            <a:r>
              <a:rPr lang="de-DE" sz="1600" b="1" dirty="0"/>
              <a:t>Text</a:t>
            </a:r>
          </a:p>
        </p:txBody>
      </p:sp>
      <p:sp>
        <p:nvSpPr>
          <p:cNvPr id="27" name="Line 43"/>
          <p:cNvSpPr>
            <a:spLocks noChangeShapeType="1"/>
          </p:cNvSpPr>
          <p:nvPr/>
        </p:nvSpPr>
        <p:spPr bwMode="auto">
          <a:xfrm>
            <a:off x="1776412" y="4802354"/>
            <a:ext cx="8639176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46" tIns="46623" rIns="93246" bIns="46623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>
            <a:off x="2045937" y="1401369"/>
            <a:ext cx="207349" cy="812553"/>
          </a:xfrm>
          <a:prstGeom prst="rect">
            <a:avLst/>
          </a:prstGeom>
          <a:solidFill>
            <a:srgbClr val="68ACE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Line 2"/>
          <p:cNvSpPr>
            <a:spLocks noChangeShapeType="1"/>
          </p:cNvSpPr>
          <p:nvPr/>
        </p:nvSpPr>
        <p:spPr bwMode="auto">
          <a:xfrm>
            <a:off x="10064078" y="1850576"/>
            <a:ext cx="269520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46" tIns="46623" rIns="93246" bIns="46623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1" name="Text Placeholder 7"/>
          <p:cNvSpPr txBox="1">
            <a:spLocks/>
          </p:cNvSpPr>
          <p:nvPr/>
        </p:nvSpPr>
        <p:spPr>
          <a:xfrm>
            <a:off x="2300236" y="2383222"/>
            <a:ext cx="3579769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2" name="Text Placeholder 7"/>
          <p:cNvSpPr txBox="1">
            <a:spLocks/>
          </p:cNvSpPr>
          <p:nvPr/>
        </p:nvSpPr>
        <p:spPr>
          <a:xfrm>
            <a:off x="6332236" y="2383222"/>
            <a:ext cx="3579769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3" name="Text Placeholder 7"/>
          <p:cNvSpPr txBox="1">
            <a:spLocks/>
          </p:cNvSpPr>
          <p:nvPr/>
        </p:nvSpPr>
        <p:spPr>
          <a:xfrm>
            <a:off x="2300236" y="3573642"/>
            <a:ext cx="3579769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4" name="Text Placeholder 7"/>
          <p:cNvSpPr txBox="1">
            <a:spLocks/>
          </p:cNvSpPr>
          <p:nvPr/>
        </p:nvSpPr>
        <p:spPr>
          <a:xfrm>
            <a:off x="6332236" y="3573642"/>
            <a:ext cx="3579769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5" name="Text Placeholder 7"/>
          <p:cNvSpPr txBox="1">
            <a:spLocks/>
          </p:cNvSpPr>
          <p:nvPr/>
        </p:nvSpPr>
        <p:spPr>
          <a:xfrm>
            <a:off x="2300236" y="4869642"/>
            <a:ext cx="3579769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6" name="Text Placeholder 7"/>
          <p:cNvSpPr txBox="1">
            <a:spLocks/>
          </p:cNvSpPr>
          <p:nvPr/>
        </p:nvSpPr>
        <p:spPr>
          <a:xfrm>
            <a:off x="6332236" y="4869642"/>
            <a:ext cx="3579769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7" name="Line 43"/>
          <p:cNvSpPr>
            <a:spLocks noChangeShapeType="1"/>
          </p:cNvSpPr>
          <p:nvPr/>
        </p:nvSpPr>
        <p:spPr bwMode="auto">
          <a:xfrm>
            <a:off x="1776412" y="5948363"/>
            <a:ext cx="8639176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46" tIns="46623" rIns="93246" bIns="46623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849115720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392820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7"/>
          <p:cNvSpPr txBox="1">
            <a:spLocks/>
          </p:cNvSpPr>
          <p:nvPr/>
        </p:nvSpPr>
        <p:spPr>
          <a:xfrm>
            <a:off x="1776000" y="1412880"/>
            <a:ext cx="4896000" cy="45354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ituation-</a:t>
            </a:r>
            <a:r>
              <a:rPr lang="de-DE" dirty="0" err="1"/>
              <a:t>Complica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5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2" name="Rectangle 25"/>
          <p:cNvSpPr>
            <a:spLocks noChangeArrowheads="1"/>
          </p:cNvSpPr>
          <p:nvPr/>
        </p:nvSpPr>
        <p:spPr bwMode="auto">
          <a:xfrm>
            <a:off x="10222888" y="1864636"/>
            <a:ext cx="192705" cy="3631964"/>
          </a:xfrm>
          <a:prstGeom prst="rect">
            <a:avLst/>
          </a:prstGeom>
          <a:solidFill>
            <a:srgbClr val="68ACE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Text Placeholder 7"/>
          <p:cNvSpPr txBox="1">
            <a:spLocks/>
          </p:cNvSpPr>
          <p:nvPr/>
        </p:nvSpPr>
        <p:spPr>
          <a:xfrm>
            <a:off x="5808005" y="1864636"/>
            <a:ext cx="4342883" cy="3631964"/>
          </a:xfrm>
          <a:custGeom>
            <a:avLst/>
            <a:gdLst>
              <a:gd name="connsiteX0" fmla="*/ 0 w 4248000"/>
              <a:gd name="connsiteY0" fmla="*/ 0 h 3631964"/>
              <a:gd name="connsiteX1" fmla="*/ 3698448 w 4248000"/>
              <a:gd name="connsiteY1" fmla="*/ 0 h 3631964"/>
              <a:gd name="connsiteX2" fmla="*/ 4248000 w 4248000"/>
              <a:gd name="connsiteY2" fmla="*/ 1815982 h 3631964"/>
              <a:gd name="connsiteX3" fmla="*/ 3698448 w 4248000"/>
              <a:gd name="connsiteY3" fmla="*/ 3631964 h 3631964"/>
              <a:gd name="connsiteX4" fmla="*/ 0 w 4248000"/>
              <a:gd name="connsiteY4" fmla="*/ 3631964 h 3631964"/>
              <a:gd name="connsiteX5" fmla="*/ 549552 w 4248000"/>
              <a:gd name="connsiteY5" fmla="*/ 1815982 h 3631964"/>
              <a:gd name="connsiteX6" fmla="*/ 0 w 4248000"/>
              <a:gd name="connsiteY6" fmla="*/ 0 h 3631964"/>
              <a:gd name="connsiteX0" fmla="*/ 0 w 3698448"/>
              <a:gd name="connsiteY0" fmla="*/ 0 h 3631964"/>
              <a:gd name="connsiteX1" fmla="*/ 3698448 w 3698448"/>
              <a:gd name="connsiteY1" fmla="*/ 0 h 3631964"/>
              <a:gd name="connsiteX2" fmla="*/ 3698448 w 3698448"/>
              <a:gd name="connsiteY2" fmla="*/ 3631964 h 3631964"/>
              <a:gd name="connsiteX3" fmla="*/ 0 w 3698448"/>
              <a:gd name="connsiteY3" fmla="*/ 3631964 h 3631964"/>
              <a:gd name="connsiteX4" fmla="*/ 549552 w 3698448"/>
              <a:gd name="connsiteY4" fmla="*/ 1815982 h 3631964"/>
              <a:gd name="connsiteX5" fmla="*/ 0 w 3698448"/>
              <a:gd name="connsiteY5" fmla="*/ 0 h 3631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8448" h="3631964">
                <a:moveTo>
                  <a:pt x="0" y="0"/>
                </a:moveTo>
                <a:lnTo>
                  <a:pt x="3698448" y="0"/>
                </a:lnTo>
                <a:lnTo>
                  <a:pt x="3698448" y="3631964"/>
                </a:lnTo>
                <a:lnTo>
                  <a:pt x="0" y="3631964"/>
                </a:lnTo>
                <a:lnTo>
                  <a:pt x="549552" y="1815982"/>
                </a:lnTo>
                <a:lnTo>
                  <a:pt x="0" y="0"/>
                </a:lnTo>
                <a:close/>
              </a:path>
            </a:pathLst>
          </a:custGeom>
          <a:solidFill>
            <a:srgbClr val="B3D5F2"/>
          </a:solidFill>
          <a:ln w="12700">
            <a:noFill/>
          </a:ln>
          <a:effectLst/>
        </p:spPr>
        <p:txBody>
          <a:bodyPr wrap="square" lIns="792000" tIns="72000" rIns="72000" bIns="72000" anchor="ctr" anchorCtr="0">
            <a:no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17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147794579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196611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7"/>
          <p:cNvSpPr txBox="1">
            <a:spLocks/>
          </p:cNvSpPr>
          <p:nvPr/>
        </p:nvSpPr>
        <p:spPr>
          <a:xfrm>
            <a:off x="1776005" y="1412880"/>
            <a:ext cx="6674865" cy="4535487"/>
          </a:xfrm>
          <a:prstGeom prst="roundRect">
            <a:avLst>
              <a:gd name="adj" fmla="val 7712"/>
            </a:avLst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1296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/>
              <a:t>Text</a:t>
            </a:r>
          </a:p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ituation-</a:t>
            </a:r>
            <a:r>
              <a:rPr lang="de-DE" dirty="0" err="1"/>
              <a:t>Complica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7032000" y="2637231"/>
            <a:ext cx="3383588" cy="208677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/>
              <a:t>Text</a:t>
            </a:r>
          </a:p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11" name="AutoShape 14"/>
          <p:cNvSpPr>
            <a:spLocks noChangeArrowheads="1"/>
          </p:cNvSpPr>
          <p:nvPr/>
        </p:nvSpPr>
        <p:spPr bwMode="auto">
          <a:xfrm flipV="1">
            <a:off x="8285736" y="2565000"/>
            <a:ext cx="330269" cy="186500"/>
          </a:xfrm>
          <a:prstGeom prst="triangle">
            <a:avLst>
              <a:gd name="adj" fmla="val 50000"/>
            </a:avLst>
          </a:prstGeom>
          <a:solidFill>
            <a:srgbClr val="68ACE5"/>
          </a:soli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93246" tIns="46623" rIns="93246" bIns="46623" anchor="ctr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auto">
          <a:xfrm>
            <a:off x="8285736" y="4607284"/>
            <a:ext cx="330269" cy="189716"/>
          </a:xfrm>
          <a:prstGeom prst="triangle">
            <a:avLst>
              <a:gd name="adj" fmla="val 50000"/>
            </a:avLst>
          </a:prstGeom>
          <a:solidFill>
            <a:srgbClr val="68ACE5"/>
          </a:soli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93246" tIns="46623" rIns="93246" bIns="46623" anchor="ctr"/>
          <a:lstStyle/>
          <a:p>
            <a:pPr>
              <a:lnSpc>
                <a:spcPct val="95000"/>
              </a:lnSpc>
            </a:pPr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8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65196817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216122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Op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21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de-AT" dirty="0"/>
              <a:t>Layout: content_3_siloes_smal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2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34"/>
          </p:nvPr>
        </p:nvSpPr>
        <p:spPr>
          <a:solidFill>
            <a:srgbClr val="B3D5F2"/>
          </a:solidFill>
        </p:spPr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1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5"/>
          </p:nvPr>
        </p:nvSpPr>
        <p:spPr>
          <a:solidFill>
            <a:srgbClr val="B3D5F2"/>
          </a:solidFill>
        </p:spPr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2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36"/>
          </p:nvPr>
        </p:nvSpPr>
        <p:spPr>
          <a:solidFill>
            <a:srgbClr val="B3D5F2"/>
          </a:solidFill>
        </p:spPr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3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7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30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457347133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380060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Op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21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de-AT" dirty="0"/>
              <a:t>Layout: content_3_silo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2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34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1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5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2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36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3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7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1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220540122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766995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49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Op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2"/>
          </p:nvPr>
        </p:nvSpPr>
        <p:spPr/>
        <p:txBody>
          <a:bodyPr lIns="0" tIns="0">
            <a:noAutofit/>
          </a:bodyPr>
          <a:lstStyle/>
          <a:p>
            <a:r>
              <a:rPr lang="de-AT" dirty="0"/>
              <a:t>Layout: content_4_siloes</a:t>
            </a:r>
          </a:p>
        </p:txBody>
      </p:sp>
      <p:sp>
        <p:nvSpPr>
          <p:cNvPr id="21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3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4"/>
          </p:nvPr>
        </p:nvSpPr>
        <p:spPr/>
        <p:txBody>
          <a:bodyPr lIns="72000" tIns="72000"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36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3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7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1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38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Option 2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39"/>
          </p:nvPr>
        </p:nvSpPr>
        <p:spPr/>
        <p:txBody>
          <a:bodyPr/>
          <a:lstStyle/>
          <a:p>
            <a:r>
              <a:rPr lang="de-AT" dirty="0">
                <a:solidFill>
                  <a:srgbClr val="000000"/>
                </a:solidFill>
              </a:rPr>
              <a:t>Option 4</a:t>
            </a:r>
            <a:endParaRPr lang="de-AT" dirty="0"/>
          </a:p>
        </p:txBody>
      </p:sp>
      <p:sp>
        <p:nvSpPr>
          <p:cNvPr id="17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971846225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173385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Pros </a:t>
            </a:r>
            <a:r>
              <a:rPr lang="de-DE" dirty="0" err="1"/>
              <a:t>and</a:t>
            </a:r>
            <a:r>
              <a:rPr lang="de-DE" dirty="0"/>
              <a:t> C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15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de-AT" dirty="0"/>
              <a:t>Layout: content_2_silo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/>
          </p:nvPr>
        </p:nvSpPr>
        <p:spPr/>
        <p:txBody>
          <a:bodyPr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4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Pro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36"/>
          </p:nvPr>
        </p:nvSpPr>
        <p:spPr/>
        <p:txBody>
          <a:bodyPr>
            <a:normAutofit/>
          </a:bodyPr>
          <a:lstStyle/>
          <a:p>
            <a:r>
              <a:rPr lang="de-AT" sz="1600" dirty="0">
                <a:solidFill>
                  <a:srgbClr val="000000"/>
                </a:solidFill>
              </a:rPr>
              <a:t>Contra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7"/>
          </p:nvPr>
        </p:nvSpPr>
        <p:spPr/>
        <p:txBody>
          <a:bodyPr>
            <a:normAutofit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gray">
          <a:xfrm>
            <a:off x="7753699" y="3850819"/>
            <a:ext cx="1249589" cy="38100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txBody>
          <a:bodyPr wrap="none" lIns="91313" tIns="45657" rIns="91313" bIns="45657" anchor="ctr"/>
          <a:lstStyle/>
          <a:p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AutoShape 11"/>
          <p:cNvSpPr>
            <a:spLocks noChangeArrowheads="1"/>
          </p:cNvSpPr>
          <p:nvPr/>
        </p:nvSpPr>
        <p:spPr bwMode="gray">
          <a:xfrm>
            <a:off x="3041676" y="3203119"/>
            <a:ext cx="1614487" cy="1676400"/>
          </a:xfrm>
          <a:prstGeom prst="plus">
            <a:avLst>
              <a:gd name="adj" fmla="val 35509"/>
            </a:avLst>
          </a:prstGeom>
          <a:solidFill>
            <a:schemeClr val="accent5">
              <a:alpha val="30000"/>
            </a:schemeClr>
          </a:solidFill>
          <a:ln>
            <a:noFill/>
          </a:ln>
        </p:spPr>
        <p:txBody>
          <a:bodyPr wrap="none" lIns="91313" tIns="45657" rIns="91313" bIns="45657" anchor="ctr"/>
          <a:lstStyle/>
          <a:p>
            <a:endParaRPr lang="de-DE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1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75714466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110266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Proces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3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7" name="Text Placeholder 7"/>
          <p:cNvSpPr txBox="1">
            <a:spLocks/>
          </p:cNvSpPr>
          <p:nvPr/>
        </p:nvSpPr>
        <p:spPr>
          <a:xfrm>
            <a:off x="1920413" y="1555949"/>
            <a:ext cx="2663588" cy="648587"/>
          </a:xfrm>
          <a:prstGeom prst="homePlate">
            <a:avLst>
              <a:gd name="adj" fmla="val 32097"/>
            </a:avLst>
          </a:prstGeom>
          <a:solidFill>
            <a:srgbClr val="B3D5F2"/>
          </a:solidFill>
          <a:ln w="12700">
            <a:noFill/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 err="1"/>
              <a:t>Step</a:t>
            </a:r>
            <a:endParaRPr lang="de-DE" sz="1600" dirty="0"/>
          </a:p>
        </p:txBody>
      </p:sp>
      <p:sp>
        <p:nvSpPr>
          <p:cNvPr id="18" name="Textfeld 7"/>
          <p:cNvSpPr txBox="1"/>
          <p:nvPr/>
        </p:nvSpPr>
        <p:spPr bwMode="gray">
          <a:xfrm>
            <a:off x="1776413" y="1411944"/>
            <a:ext cx="288000" cy="288000"/>
          </a:xfrm>
          <a:prstGeom prst="rect">
            <a:avLst/>
          </a:prstGeom>
          <a:solidFill>
            <a:srgbClr val="33518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892685"/>
            <a:r>
              <a:rPr lang="en-US" sz="1600" b="1" dirty="0">
                <a:solidFill>
                  <a:schemeClr val="bg1"/>
                </a:solidFill>
                <a:latin typeface="Arial"/>
                <a:cs typeface="Arial" charset="0"/>
              </a:rPr>
              <a:t>1</a:t>
            </a:r>
          </a:p>
        </p:txBody>
      </p:sp>
      <p:sp>
        <p:nvSpPr>
          <p:cNvPr id="19" name="Text Placeholder 7"/>
          <p:cNvSpPr txBox="1">
            <a:spLocks/>
          </p:cNvSpPr>
          <p:nvPr/>
        </p:nvSpPr>
        <p:spPr>
          <a:xfrm>
            <a:off x="4835299" y="1555949"/>
            <a:ext cx="2663588" cy="648587"/>
          </a:xfrm>
          <a:prstGeom prst="chevron">
            <a:avLst>
              <a:gd name="adj" fmla="val 37272"/>
            </a:avLst>
          </a:prstGeom>
          <a:solidFill>
            <a:srgbClr val="B3D5F2"/>
          </a:solidFill>
          <a:ln w="12700">
            <a:noFill/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 err="1"/>
              <a:t>Step</a:t>
            </a:r>
            <a:endParaRPr lang="de-DE" sz="1600" dirty="0"/>
          </a:p>
        </p:txBody>
      </p:sp>
      <p:sp>
        <p:nvSpPr>
          <p:cNvPr id="20" name="Textfeld 7"/>
          <p:cNvSpPr txBox="1"/>
          <p:nvPr/>
        </p:nvSpPr>
        <p:spPr bwMode="gray">
          <a:xfrm>
            <a:off x="4731613" y="1411944"/>
            <a:ext cx="288000" cy="288000"/>
          </a:xfrm>
          <a:prstGeom prst="rect">
            <a:avLst/>
          </a:prstGeom>
          <a:solidFill>
            <a:srgbClr val="33518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892685"/>
            <a:r>
              <a:rPr lang="en-US" sz="1600" b="1" dirty="0">
                <a:solidFill>
                  <a:schemeClr val="bg1"/>
                </a:solidFill>
                <a:latin typeface="Arial"/>
                <a:cs typeface="Arial" charset="0"/>
              </a:rPr>
              <a:t>2</a:t>
            </a:r>
          </a:p>
        </p:txBody>
      </p:sp>
      <p:sp>
        <p:nvSpPr>
          <p:cNvPr id="21" name="Text Placeholder 7"/>
          <p:cNvSpPr txBox="1">
            <a:spLocks/>
          </p:cNvSpPr>
          <p:nvPr/>
        </p:nvSpPr>
        <p:spPr>
          <a:xfrm>
            <a:off x="7750185" y="1555949"/>
            <a:ext cx="2663588" cy="648587"/>
          </a:xfrm>
          <a:prstGeom prst="chevron">
            <a:avLst>
              <a:gd name="adj" fmla="val 37272"/>
            </a:avLst>
          </a:prstGeom>
          <a:solidFill>
            <a:srgbClr val="B3D5F2"/>
          </a:solidFill>
          <a:ln w="12700">
            <a:noFill/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 err="1"/>
              <a:t>Step</a:t>
            </a:r>
            <a:endParaRPr lang="de-DE" sz="1600" dirty="0"/>
          </a:p>
        </p:txBody>
      </p:sp>
      <p:sp>
        <p:nvSpPr>
          <p:cNvPr id="22" name="Textfeld 7"/>
          <p:cNvSpPr txBox="1"/>
          <p:nvPr/>
        </p:nvSpPr>
        <p:spPr bwMode="gray">
          <a:xfrm>
            <a:off x="7686813" y="1411944"/>
            <a:ext cx="288000" cy="288000"/>
          </a:xfrm>
          <a:prstGeom prst="rect">
            <a:avLst/>
          </a:prstGeom>
          <a:solidFill>
            <a:srgbClr val="33518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892685"/>
            <a:r>
              <a:rPr lang="en-US" sz="1600" b="1" dirty="0">
                <a:solidFill>
                  <a:schemeClr val="bg1"/>
                </a:solidFill>
                <a:latin typeface="Arial"/>
                <a:cs typeface="Arial" charset="0"/>
              </a:rPr>
              <a:t>3</a:t>
            </a:r>
          </a:p>
        </p:txBody>
      </p:sp>
      <p:sp>
        <p:nvSpPr>
          <p:cNvPr id="26" name="Text Placeholder 7"/>
          <p:cNvSpPr txBox="1">
            <a:spLocks/>
          </p:cNvSpPr>
          <p:nvPr/>
        </p:nvSpPr>
        <p:spPr>
          <a:xfrm>
            <a:off x="1920418" y="2263888"/>
            <a:ext cx="2447587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7" name="Text Placeholder 7"/>
          <p:cNvSpPr txBox="1">
            <a:spLocks/>
          </p:cNvSpPr>
          <p:nvPr/>
        </p:nvSpPr>
        <p:spPr>
          <a:xfrm>
            <a:off x="4835304" y="2263888"/>
            <a:ext cx="2447587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2" name="Text Placeholder 7"/>
          <p:cNvSpPr txBox="1">
            <a:spLocks/>
          </p:cNvSpPr>
          <p:nvPr/>
        </p:nvSpPr>
        <p:spPr>
          <a:xfrm>
            <a:off x="7750190" y="2263888"/>
            <a:ext cx="2447587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5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803052715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9816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Proces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2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de-AT" dirty="0"/>
              <a:t>Layout: content_3_boxes_3_lines_shifted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AT" sz="1600" dirty="0" err="1"/>
              <a:t>Step</a:t>
            </a:r>
            <a:r>
              <a:rPr lang="de-AT" sz="1600" dirty="0"/>
              <a:t> 1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AT" sz="1600" dirty="0" err="1"/>
              <a:t>Step</a:t>
            </a:r>
            <a:r>
              <a:rPr lang="de-AT" sz="1600" dirty="0"/>
              <a:t> 2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de-AT" sz="1600" dirty="0" err="1"/>
              <a:t>Step</a:t>
            </a:r>
            <a:r>
              <a:rPr lang="de-AT" sz="1600" dirty="0"/>
              <a:t> 3</a:t>
            </a:r>
          </a:p>
        </p:txBody>
      </p:sp>
      <p:sp>
        <p:nvSpPr>
          <p:cNvPr id="25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44665654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&lt;NAME, FIRSTNAME&gt;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&lt;Mobile&gt;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&lt;email@axxiome.com&gt;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&lt;POSITION&gt;</a:t>
            </a: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370982000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117041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7"/>
          <p:cNvSpPr txBox="1">
            <a:spLocks/>
          </p:cNvSpPr>
          <p:nvPr/>
        </p:nvSpPr>
        <p:spPr>
          <a:xfrm>
            <a:off x="6300000" y="1404000"/>
            <a:ext cx="4145829" cy="194055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9" name="Text Placeholder 7"/>
          <p:cNvSpPr txBox="1">
            <a:spLocks/>
          </p:cNvSpPr>
          <p:nvPr/>
        </p:nvSpPr>
        <p:spPr>
          <a:xfrm>
            <a:off x="6300000" y="4032000"/>
            <a:ext cx="4145829" cy="194055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936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3" name="Text Placeholder 7"/>
          <p:cNvSpPr txBox="1">
            <a:spLocks/>
          </p:cNvSpPr>
          <p:nvPr/>
        </p:nvSpPr>
        <p:spPr>
          <a:xfrm>
            <a:off x="1764000" y="1404000"/>
            <a:ext cx="4145829" cy="194055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5" name="Text Placeholder 7"/>
          <p:cNvSpPr txBox="1">
            <a:spLocks/>
          </p:cNvSpPr>
          <p:nvPr/>
        </p:nvSpPr>
        <p:spPr>
          <a:xfrm>
            <a:off x="1764000" y="4032000"/>
            <a:ext cx="4145829" cy="194055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4 </a:t>
            </a:r>
            <a:r>
              <a:rPr lang="de-DE" dirty="0" err="1"/>
              <a:t>Aspect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21" name="Freeform 11"/>
          <p:cNvSpPr>
            <a:spLocks/>
          </p:cNvSpPr>
          <p:nvPr/>
        </p:nvSpPr>
        <p:spPr bwMode="gray">
          <a:xfrm>
            <a:off x="6012000" y="3780000"/>
            <a:ext cx="1130300" cy="1036638"/>
          </a:xfrm>
          <a:custGeom>
            <a:avLst/>
            <a:gdLst>
              <a:gd name="T0" fmla="*/ 0 w 149"/>
              <a:gd name="T1" fmla="*/ 830834 h 136"/>
              <a:gd name="T2" fmla="*/ 242749 w 149"/>
              <a:gd name="T3" fmla="*/ 632653 h 136"/>
              <a:gd name="T4" fmla="*/ 242749 w 149"/>
              <a:gd name="T5" fmla="*/ 701254 h 136"/>
              <a:gd name="T6" fmla="*/ 250335 w 149"/>
              <a:gd name="T7" fmla="*/ 701254 h 136"/>
              <a:gd name="T8" fmla="*/ 280679 w 149"/>
              <a:gd name="T9" fmla="*/ 693632 h 136"/>
              <a:gd name="T10" fmla="*/ 318608 w 149"/>
              <a:gd name="T11" fmla="*/ 686010 h 136"/>
              <a:gd name="T12" fmla="*/ 348952 w 149"/>
              <a:gd name="T13" fmla="*/ 678387 h 136"/>
              <a:gd name="T14" fmla="*/ 379295 w 149"/>
              <a:gd name="T15" fmla="*/ 663143 h 136"/>
              <a:gd name="T16" fmla="*/ 409639 w 149"/>
              <a:gd name="T17" fmla="*/ 655520 h 136"/>
              <a:gd name="T18" fmla="*/ 439983 w 149"/>
              <a:gd name="T19" fmla="*/ 640276 h 136"/>
              <a:gd name="T20" fmla="*/ 500670 w 149"/>
              <a:gd name="T21" fmla="*/ 609786 h 136"/>
              <a:gd name="T22" fmla="*/ 553771 w 149"/>
              <a:gd name="T23" fmla="*/ 571675 h 136"/>
              <a:gd name="T24" fmla="*/ 606872 w 149"/>
              <a:gd name="T25" fmla="*/ 525941 h 136"/>
              <a:gd name="T26" fmla="*/ 652388 w 149"/>
              <a:gd name="T27" fmla="*/ 480207 h 136"/>
              <a:gd name="T28" fmla="*/ 697903 w 149"/>
              <a:gd name="T29" fmla="*/ 434473 h 136"/>
              <a:gd name="T30" fmla="*/ 735833 w 149"/>
              <a:gd name="T31" fmla="*/ 381117 h 136"/>
              <a:gd name="T32" fmla="*/ 773762 w 149"/>
              <a:gd name="T33" fmla="*/ 327760 h 136"/>
              <a:gd name="T34" fmla="*/ 788934 w 149"/>
              <a:gd name="T35" fmla="*/ 297271 h 136"/>
              <a:gd name="T36" fmla="*/ 804106 w 149"/>
              <a:gd name="T37" fmla="*/ 266782 h 136"/>
              <a:gd name="T38" fmla="*/ 819278 w 149"/>
              <a:gd name="T39" fmla="*/ 236292 h 136"/>
              <a:gd name="T40" fmla="*/ 826864 w 149"/>
              <a:gd name="T41" fmla="*/ 205803 h 136"/>
              <a:gd name="T42" fmla="*/ 842036 w 149"/>
              <a:gd name="T43" fmla="*/ 175314 h 136"/>
              <a:gd name="T44" fmla="*/ 849621 w 149"/>
              <a:gd name="T45" fmla="*/ 137202 h 136"/>
              <a:gd name="T46" fmla="*/ 857207 w 149"/>
              <a:gd name="T47" fmla="*/ 106713 h 136"/>
              <a:gd name="T48" fmla="*/ 864793 w 149"/>
              <a:gd name="T49" fmla="*/ 68601 h 136"/>
              <a:gd name="T50" fmla="*/ 872379 w 149"/>
              <a:gd name="T51" fmla="*/ 38112 h 136"/>
              <a:gd name="T52" fmla="*/ 872379 w 149"/>
              <a:gd name="T53" fmla="*/ 22867 h 136"/>
              <a:gd name="T54" fmla="*/ 986168 w 149"/>
              <a:gd name="T55" fmla="*/ 160069 h 136"/>
              <a:gd name="T56" fmla="*/ 1115128 w 149"/>
              <a:gd name="T57" fmla="*/ 0 h 136"/>
              <a:gd name="T58" fmla="*/ 1130300 w 149"/>
              <a:gd name="T59" fmla="*/ 0 h 136"/>
              <a:gd name="T60" fmla="*/ 1122714 w 149"/>
              <a:gd name="T61" fmla="*/ 53356 h 136"/>
              <a:gd name="T62" fmla="*/ 1122714 w 149"/>
              <a:gd name="T63" fmla="*/ 99090 h 136"/>
              <a:gd name="T64" fmla="*/ 1107542 w 149"/>
              <a:gd name="T65" fmla="*/ 144824 h 136"/>
              <a:gd name="T66" fmla="*/ 1099956 w 149"/>
              <a:gd name="T67" fmla="*/ 190558 h 136"/>
              <a:gd name="T68" fmla="*/ 1084785 w 149"/>
              <a:gd name="T69" fmla="*/ 236292 h 136"/>
              <a:gd name="T70" fmla="*/ 1069613 w 149"/>
              <a:gd name="T71" fmla="*/ 282026 h 136"/>
              <a:gd name="T72" fmla="*/ 1054441 w 149"/>
              <a:gd name="T73" fmla="*/ 327760 h 136"/>
              <a:gd name="T74" fmla="*/ 1039269 w 149"/>
              <a:gd name="T75" fmla="*/ 365872 h 136"/>
              <a:gd name="T76" fmla="*/ 1016511 w 149"/>
              <a:gd name="T77" fmla="*/ 411606 h 136"/>
              <a:gd name="T78" fmla="*/ 993754 w 149"/>
              <a:gd name="T79" fmla="*/ 449718 h 136"/>
              <a:gd name="T80" fmla="*/ 970996 w 149"/>
              <a:gd name="T81" fmla="*/ 487829 h 136"/>
              <a:gd name="T82" fmla="*/ 948238 w 149"/>
              <a:gd name="T83" fmla="*/ 525941 h 136"/>
              <a:gd name="T84" fmla="*/ 925481 w 149"/>
              <a:gd name="T85" fmla="*/ 564052 h 136"/>
              <a:gd name="T86" fmla="*/ 895137 w 149"/>
              <a:gd name="T87" fmla="*/ 602164 h 136"/>
              <a:gd name="T88" fmla="*/ 864793 w 149"/>
              <a:gd name="T89" fmla="*/ 632653 h 136"/>
              <a:gd name="T90" fmla="*/ 834450 w 149"/>
              <a:gd name="T91" fmla="*/ 670765 h 136"/>
              <a:gd name="T92" fmla="*/ 804106 w 149"/>
              <a:gd name="T93" fmla="*/ 701254 h 136"/>
              <a:gd name="T94" fmla="*/ 766177 w 149"/>
              <a:gd name="T95" fmla="*/ 731744 h 136"/>
              <a:gd name="T96" fmla="*/ 735833 w 149"/>
              <a:gd name="T97" fmla="*/ 754611 h 136"/>
              <a:gd name="T98" fmla="*/ 697903 w 149"/>
              <a:gd name="T99" fmla="*/ 785100 h 136"/>
              <a:gd name="T100" fmla="*/ 659974 w 149"/>
              <a:gd name="T101" fmla="*/ 807967 h 136"/>
              <a:gd name="T102" fmla="*/ 622044 w 149"/>
              <a:gd name="T103" fmla="*/ 830834 h 136"/>
              <a:gd name="T104" fmla="*/ 584115 w 149"/>
              <a:gd name="T105" fmla="*/ 853701 h 136"/>
              <a:gd name="T106" fmla="*/ 538599 w 149"/>
              <a:gd name="T107" fmla="*/ 876568 h 136"/>
              <a:gd name="T108" fmla="*/ 500670 w 149"/>
              <a:gd name="T109" fmla="*/ 891813 h 136"/>
              <a:gd name="T110" fmla="*/ 455154 w 149"/>
              <a:gd name="T111" fmla="*/ 914680 h 136"/>
              <a:gd name="T112" fmla="*/ 409639 w 149"/>
              <a:gd name="T113" fmla="*/ 929924 h 136"/>
              <a:gd name="T114" fmla="*/ 364123 w 149"/>
              <a:gd name="T115" fmla="*/ 937547 h 136"/>
              <a:gd name="T116" fmla="*/ 326194 w 149"/>
              <a:gd name="T117" fmla="*/ 952791 h 136"/>
              <a:gd name="T118" fmla="*/ 273093 w 149"/>
              <a:gd name="T119" fmla="*/ 960414 h 136"/>
              <a:gd name="T120" fmla="*/ 242749 w 149"/>
              <a:gd name="T121" fmla="*/ 968036 h 136"/>
              <a:gd name="T122" fmla="*/ 242749 w 149"/>
              <a:gd name="T123" fmla="*/ 1036637 h 136"/>
              <a:gd name="T124" fmla="*/ 0 w 149"/>
              <a:gd name="T125" fmla="*/ 830834 h 1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49"/>
              <a:gd name="T190" fmla="*/ 0 h 136"/>
              <a:gd name="T191" fmla="*/ 149 w 149"/>
              <a:gd name="T192" fmla="*/ 136 h 1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49" h="136">
                <a:moveTo>
                  <a:pt x="0" y="109"/>
                </a:moveTo>
                <a:lnTo>
                  <a:pt x="32" y="83"/>
                </a:lnTo>
                <a:lnTo>
                  <a:pt x="32" y="92"/>
                </a:lnTo>
                <a:lnTo>
                  <a:pt x="33" y="92"/>
                </a:lnTo>
                <a:lnTo>
                  <a:pt x="37" y="91"/>
                </a:lnTo>
                <a:lnTo>
                  <a:pt x="42" y="90"/>
                </a:lnTo>
                <a:lnTo>
                  <a:pt x="46" y="89"/>
                </a:lnTo>
                <a:lnTo>
                  <a:pt x="50" y="87"/>
                </a:lnTo>
                <a:lnTo>
                  <a:pt x="54" y="86"/>
                </a:lnTo>
                <a:lnTo>
                  <a:pt x="58" y="84"/>
                </a:lnTo>
                <a:lnTo>
                  <a:pt x="66" y="80"/>
                </a:lnTo>
                <a:lnTo>
                  <a:pt x="73" y="75"/>
                </a:lnTo>
                <a:lnTo>
                  <a:pt x="80" y="69"/>
                </a:lnTo>
                <a:lnTo>
                  <a:pt x="86" y="63"/>
                </a:lnTo>
                <a:lnTo>
                  <a:pt x="92" y="57"/>
                </a:lnTo>
                <a:lnTo>
                  <a:pt x="97" y="50"/>
                </a:lnTo>
                <a:lnTo>
                  <a:pt x="102" y="43"/>
                </a:lnTo>
                <a:lnTo>
                  <a:pt x="104" y="39"/>
                </a:lnTo>
                <a:lnTo>
                  <a:pt x="106" y="35"/>
                </a:lnTo>
                <a:lnTo>
                  <a:pt x="108" y="31"/>
                </a:lnTo>
                <a:lnTo>
                  <a:pt x="109" y="27"/>
                </a:lnTo>
                <a:lnTo>
                  <a:pt x="111" y="23"/>
                </a:lnTo>
                <a:lnTo>
                  <a:pt x="112" y="18"/>
                </a:lnTo>
                <a:lnTo>
                  <a:pt x="113" y="14"/>
                </a:lnTo>
                <a:lnTo>
                  <a:pt x="114" y="9"/>
                </a:lnTo>
                <a:lnTo>
                  <a:pt x="115" y="5"/>
                </a:lnTo>
                <a:lnTo>
                  <a:pt x="115" y="3"/>
                </a:lnTo>
                <a:lnTo>
                  <a:pt x="130" y="21"/>
                </a:lnTo>
                <a:lnTo>
                  <a:pt x="147" y="0"/>
                </a:lnTo>
                <a:lnTo>
                  <a:pt x="149" y="0"/>
                </a:lnTo>
                <a:lnTo>
                  <a:pt x="148" y="7"/>
                </a:lnTo>
                <a:lnTo>
                  <a:pt x="148" y="13"/>
                </a:lnTo>
                <a:lnTo>
                  <a:pt x="146" y="19"/>
                </a:lnTo>
                <a:lnTo>
                  <a:pt x="145" y="25"/>
                </a:lnTo>
                <a:lnTo>
                  <a:pt x="143" y="31"/>
                </a:lnTo>
                <a:lnTo>
                  <a:pt x="141" y="37"/>
                </a:lnTo>
                <a:lnTo>
                  <a:pt x="139" y="43"/>
                </a:lnTo>
                <a:lnTo>
                  <a:pt x="137" y="48"/>
                </a:lnTo>
                <a:lnTo>
                  <a:pt x="134" y="54"/>
                </a:lnTo>
                <a:lnTo>
                  <a:pt x="131" y="59"/>
                </a:lnTo>
                <a:lnTo>
                  <a:pt x="128" y="64"/>
                </a:lnTo>
                <a:lnTo>
                  <a:pt x="125" y="69"/>
                </a:lnTo>
                <a:lnTo>
                  <a:pt x="122" y="74"/>
                </a:lnTo>
                <a:lnTo>
                  <a:pt x="118" y="79"/>
                </a:lnTo>
                <a:lnTo>
                  <a:pt x="114" y="83"/>
                </a:lnTo>
                <a:lnTo>
                  <a:pt x="110" y="88"/>
                </a:lnTo>
                <a:lnTo>
                  <a:pt x="106" y="92"/>
                </a:lnTo>
                <a:lnTo>
                  <a:pt x="101" y="96"/>
                </a:lnTo>
                <a:lnTo>
                  <a:pt x="97" y="99"/>
                </a:lnTo>
                <a:lnTo>
                  <a:pt x="92" y="103"/>
                </a:lnTo>
                <a:lnTo>
                  <a:pt x="87" y="106"/>
                </a:lnTo>
                <a:lnTo>
                  <a:pt x="82" y="109"/>
                </a:lnTo>
                <a:lnTo>
                  <a:pt x="77" y="112"/>
                </a:lnTo>
                <a:lnTo>
                  <a:pt x="71" y="115"/>
                </a:lnTo>
                <a:lnTo>
                  <a:pt x="66" y="117"/>
                </a:lnTo>
                <a:lnTo>
                  <a:pt x="60" y="120"/>
                </a:lnTo>
                <a:lnTo>
                  <a:pt x="54" y="122"/>
                </a:lnTo>
                <a:lnTo>
                  <a:pt x="48" y="123"/>
                </a:lnTo>
                <a:lnTo>
                  <a:pt x="43" y="125"/>
                </a:lnTo>
                <a:lnTo>
                  <a:pt x="36" y="126"/>
                </a:lnTo>
                <a:lnTo>
                  <a:pt x="32" y="127"/>
                </a:lnTo>
                <a:lnTo>
                  <a:pt x="32" y="136"/>
                </a:lnTo>
                <a:lnTo>
                  <a:pt x="0" y="109"/>
                </a:lnTo>
              </a:path>
            </a:pathLst>
          </a:custGeom>
          <a:solidFill>
            <a:srgbClr val="7F92B1"/>
          </a:solidFill>
          <a:ln w="38100">
            <a:solidFill>
              <a:schemeClr val="bg1"/>
            </a:solidFill>
          </a:ln>
          <a:extLst/>
        </p:spPr>
        <p:txBody>
          <a:bodyPr lIns="82720" tIns="41359" rIns="82720" bIns="41359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" name="Freeform 13"/>
          <p:cNvSpPr>
            <a:spLocks/>
          </p:cNvSpPr>
          <p:nvPr/>
        </p:nvSpPr>
        <p:spPr bwMode="gray">
          <a:xfrm>
            <a:off x="5076000" y="2628000"/>
            <a:ext cx="1085850" cy="998538"/>
          </a:xfrm>
          <a:custGeom>
            <a:avLst/>
            <a:gdLst>
              <a:gd name="T0" fmla="*/ 1085850 w 143"/>
              <a:gd name="T1" fmla="*/ 205805 h 131"/>
              <a:gd name="T2" fmla="*/ 933983 w 143"/>
              <a:gd name="T3" fmla="*/ 76224 h 131"/>
              <a:gd name="T4" fmla="*/ 933983 w 143"/>
              <a:gd name="T5" fmla="*/ 60979 h 131"/>
              <a:gd name="T6" fmla="*/ 918796 w 143"/>
              <a:gd name="T7" fmla="*/ 68602 h 131"/>
              <a:gd name="T8" fmla="*/ 842863 w 143"/>
              <a:gd name="T9" fmla="*/ 0 h 131"/>
              <a:gd name="T10" fmla="*/ 842863 w 143"/>
              <a:gd name="T11" fmla="*/ 76224 h 131"/>
              <a:gd name="T12" fmla="*/ 842863 w 143"/>
              <a:gd name="T13" fmla="*/ 76224 h 131"/>
              <a:gd name="T14" fmla="*/ 797302 w 143"/>
              <a:gd name="T15" fmla="*/ 83847 h 131"/>
              <a:gd name="T16" fmla="*/ 751742 w 143"/>
              <a:gd name="T17" fmla="*/ 91469 h 131"/>
              <a:gd name="T18" fmla="*/ 706182 w 143"/>
              <a:gd name="T19" fmla="*/ 106714 h 131"/>
              <a:gd name="T20" fmla="*/ 660622 w 143"/>
              <a:gd name="T21" fmla="*/ 121959 h 131"/>
              <a:gd name="T22" fmla="*/ 622655 w 143"/>
              <a:gd name="T23" fmla="*/ 137204 h 131"/>
              <a:gd name="T24" fmla="*/ 577095 w 143"/>
              <a:gd name="T25" fmla="*/ 152448 h 131"/>
              <a:gd name="T26" fmla="*/ 539128 w 143"/>
              <a:gd name="T27" fmla="*/ 175316 h 131"/>
              <a:gd name="T28" fmla="*/ 501162 w 143"/>
              <a:gd name="T29" fmla="*/ 198183 h 131"/>
              <a:gd name="T30" fmla="*/ 463195 w 143"/>
              <a:gd name="T31" fmla="*/ 221050 h 131"/>
              <a:gd name="T32" fmla="*/ 425228 w 143"/>
              <a:gd name="T33" fmla="*/ 243917 h 131"/>
              <a:gd name="T34" fmla="*/ 387261 w 143"/>
              <a:gd name="T35" fmla="*/ 274407 h 131"/>
              <a:gd name="T36" fmla="*/ 356888 w 143"/>
              <a:gd name="T37" fmla="*/ 297274 h 131"/>
              <a:gd name="T38" fmla="*/ 318921 w 143"/>
              <a:gd name="T39" fmla="*/ 327764 h 131"/>
              <a:gd name="T40" fmla="*/ 288548 w 143"/>
              <a:gd name="T41" fmla="*/ 358254 h 131"/>
              <a:gd name="T42" fmla="*/ 258174 w 143"/>
              <a:gd name="T43" fmla="*/ 396366 h 131"/>
              <a:gd name="T44" fmla="*/ 227801 w 143"/>
              <a:gd name="T45" fmla="*/ 426856 h 131"/>
              <a:gd name="T46" fmla="*/ 205021 w 143"/>
              <a:gd name="T47" fmla="*/ 464968 h 131"/>
              <a:gd name="T48" fmla="*/ 174647 w 143"/>
              <a:gd name="T49" fmla="*/ 495457 h 131"/>
              <a:gd name="T50" fmla="*/ 151867 w 143"/>
              <a:gd name="T51" fmla="*/ 533569 h 131"/>
              <a:gd name="T52" fmla="*/ 129087 w 143"/>
              <a:gd name="T53" fmla="*/ 571681 h 131"/>
              <a:gd name="T54" fmla="*/ 106307 w 143"/>
              <a:gd name="T55" fmla="*/ 609794 h 131"/>
              <a:gd name="T56" fmla="*/ 91120 w 143"/>
              <a:gd name="T57" fmla="*/ 655528 h 131"/>
              <a:gd name="T58" fmla="*/ 68340 w 143"/>
              <a:gd name="T59" fmla="*/ 693640 h 131"/>
              <a:gd name="T60" fmla="*/ 53153 w 143"/>
              <a:gd name="T61" fmla="*/ 739375 h 131"/>
              <a:gd name="T62" fmla="*/ 37967 w 143"/>
              <a:gd name="T63" fmla="*/ 777487 h 131"/>
              <a:gd name="T64" fmla="*/ 30373 w 143"/>
              <a:gd name="T65" fmla="*/ 823221 h 131"/>
              <a:gd name="T66" fmla="*/ 15187 w 143"/>
              <a:gd name="T67" fmla="*/ 868956 h 131"/>
              <a:gd name="T68" fmla="*/ 7593 w 143"/>
              <a:gd name="T69" fmla="*/ 914690 h 131"/>
              <a:gd name="T70" fmla="*/ 0 w 143"/>
              <a:gd name="T71" fmla="*/ 960425 h 131"/>
              <a:gd name="T72" fmla="*/ 0 w 143"/>
              <a:gd name="T73" fmla="*/ 983292 h 131"/>
              <a:gd name="T74" fmla="*/ 121494 w 143"/>
              <a:gd name="T75" fmla="*/ 838466 h 131"/>
              <a:gd name="T76" fmla="*/ 250581 w 143"/>
              <a:gd name="T77" fmla="*/ 998537 h 131"/>
              <a:gd name="T78" fmla="*/ 250581 w 143"/>
              <a:gd name="T79" fmla="*/ 975670 h 131"/>
              <a:gd name="T80" fmla="*/ 258174 w 143"/>
              <a:gd name="T81" fmla="*/ 945180 h 131"/>
              <a:gd name="T82" fmla="*/ 265767 w 143"/>
              <a:gd name="T83" fmla="*/ 907068 h 131"/>
              <a:gd name="T84" fmla="*/ 273361 w 143"/>
              <a:gd name="T85" fmla="*/ 876578 h 131"/>
              <a:gd name="T86" fmla="*/ 288548 w 143"/>
              <a:gd name="T87" fmla="*/ 846089 h 131"/>
              <a:gd name="T88" fmla="*/ 296141 w 143"/>
              <a:gd name="T89" fmla="*/ 815599 h 131"/>
              <a:gd name="T90" fmla="*/ 318921 w 143"/>
              <a:gd name="T91" fmla="*/ 754620 h 131"/>
              <a:gd name="T92" fmla="*/ 349294 w 143"/>
              <a:gd name="T93" fmla="*/ 701263 h 131"/>
              <a:gd name="T94" fmla="*/ 387261 w 143"/>
              <a:gd name="T95" fmla="*/ 640283 h 131"/>
              <a:gd name="T96" fmla="*/ 425228 w 143"/>
              <a:gd name="T97" fmla="*/ 594549 h 131"/>
              <a:gd name="T98" fmla="*/ 470788 w 143"/>
              <a:gd name="T99" fmla="*/ 541192 h 131"/>
              <a:gd name="T100" fmla="*/ 516348 w 143"/>
              <a:gd name="T101" fmla="*/ 503080 h 131"/>
              <a:gd name="T102" fmla="*/ 569502 w 143"/>
              <a:gd name="T103" fmla="*/ 457345 h 131"/>
              <a:gd name="T104" fmla="*/ 622655 w 143"/>
              <a:gd name="T105" fmla="*/ 426856 h 131"/>
              <a:gd name="T106" fmla="*/ 675809 w 143"/>
              <a:gd name="T107" fmla="*/ 388743 h 131"/>
              <a:gd name="T108" fmla="*/ 736556 w 143"/>
              <a:gd name="T109" fmla="*/ 365876 h 131"/>
              <a:gd name="T110" fmla="*/ 766929 w 143"/>
              <a:gd name="T111" fmla="*/ 350631 h 131"/>
              <a:gd name="T112" fmla="*/ 797302 w 143"/>
              <a:gd name="T113" fmla="*/ 343009 h 131"/>
              <a:gd name="T114" fmla="*/ 835269 w 143"/>
              <a:gd name="T115" fmla="*/ 335386 h 131"/>
              <a:gd name="T116" fmla="*/ 842863 w 143"/>
              <a:gd name="T117" fmla="*/ 327764 h 131"/>
              <a:gd name="T118" fmla="*/ 842863 w 143"/>
              <a:gd name="T119" fmla="*/ 403988 h 131"/>
              <a:gd name="T120" fmla="*/ 1085850 w 143"/>
              <a:gd name="T121" fmla="*/ 205805 h 13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43"/>
              <a:gd name="T184" fmla="*/ 0 h 131"/>
              <a:gd name="T185" fmla="*/ 143 w 143"/>
              <a:gd name="T186" fmla="*/ 131 h 13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43" h="131">
                <a:moveTo>
                  <a:pt x="143" y="27"/>
                </a:moveTo>
                <a:lnTo>
                  <a:pt x="123" y="10"/>
                </a:lnTo>
                <a:lnTo>
                  <a:pt x="123" y="8"/>
                </a:lnTo>
                <a:lnTo>
                  <a:pt x="121" y="9"/>
                </a:lnTo>
                <a:lnTo>
                  <a:pt x="111" y="0"/>
                </a:lnTo>
                <a:lnTo>
                  <a:pt x="111" y="10"/>
                </a:lnTo>
                <a:lnTo>
                  <a:pt x="105" y="11"/>
                </a:lnTo>
                <a:lnTo>
                  <a:pt x="99" y="12"/>
                </a:lnTo>
                <a:lnTo>
                  <a:pt x="93" y="14"/>
                </a:lnTo>
                <a:lnTo>
                  <a:pt x="87" y="16"/>
                </a:lnTo>
                <a:lnTo>
                  <a:pt x="82" y="18"/>
                </a:lnTo>
                <a:lnTo>
                  <a:pt x="76" y="20"/>
                </a:lnTo>
                <a:lnTo>
                  <a:pt x="71" y="23"/>
                </a:lnTo>
                <a:lnTo>
                  <a:pt x="66" y="26"/>
                </a:lnTo>
                <a:lnTo>
                  <a:pt x="61" y="29"/>
                </a:lnTo>
                <a:lnTo>
                  <a:pt x="56" y="32"/>
                </a:lnTo>
                <a:lnTo>
                  <a:pt x="51" y="36"/>
                </a:lnTo>
                <a:lnTo>
                  <a:pt x="47" y="39"/>
                </a:lnTo>
                <a:lnTo>
                  <a:pt x="42" y="43"/>
                </a:lnTo>
                <a:lnTo>
                  <a:pt x="38" y="47"/>
                </a:lnTo>
                <a:lnTo>
                  <a:pt x="34" y="52"/>
                </a:lnTo>
                <a:lnTo>
                  <a:pt x="30" y="56"/>
                </a:lnTo>
                <a:lnTo>
                  <a:pt x="27" y="61"/>
                </a:lnTo>
                <a:lnTo>
                  <a:pt x="23" y="65"/>
                </a:lnTo>
                <a:lnTo>
                  <a:pt x="20" y="70"/>
                </a:lnTo>
                <a:lnTo>
                  <a:pt x="17" y="75"/>
                </a:lnTo>
                <a:lnTo>
                  <a:pt x="14" y="80"/>
                </a:lnTo>
                <a:lnTo>
                  <a:pt x="12" y="86"/>
                </a:lnTo>
                <a:lnTo>
                  <a:pt x="9" y="91"/>
                </a:lnTo>
                <a:lnTo>
                  <a:pt x="7" y="97"/>
                </a:lnTo>
                <a:lnTo>
                  <a:pt x="5" y="102"/>
                </a:lnTo>
                <a:lnTo>
                  <a:pt x="4" y="108"/>
                </a:lnTo>
                <a:lnTo>
                  <a:pt x="2" y="114"/>
                </a:lnTo>
                <a:lnTo>
                  <a:pt x="1" y="120"/>
                </a:lnTo>
                <a:lnTo>
                  <a:pt x="0" y="126"/>
                </a:lnTo>
                <a:lnTo>
                  <a:pt x="0" y="129"/>
                </a:lnTo>
                <a:lnTo>
                  <a:pt x="16" y="110"/>
                </a:lnTo>
                <a:lnTo>
                  <a:pt x="33" y="131"/>
                </a:lnTo>
                <a:lnTo>
                  <a:pt x="33" y="128"/>
                </a:lnTo>
                <a:lnTo>
                  <a:pt x="34" y="124"/>
                </a:lnTo>
                <a:lnTo>
                  <a:pt x="35" y="119"/>
                </a:lnTo>
                <a:lnTo>
                  <a:pt x="36" y="115"/>
                </a:lnTo>
                <a:lnTo>
                  <a:pt x="38" y="111"/>
                </a:lnTo>
                <a:lnTo>
                  <a:pt x="39" y="107"/>
                </a:lnTo>
                <a:lnTo>
                  <a:pt x="42" y="99"/>
                </a:lnTo>
                <a:lnTo>
                  <a:pt x="46" y="92"/>
                </a:lnTo>
                <a:lnTo>
                  <a:pt x="51" y="84"/>
                </a:lnTo>
                <a:lnTo>
                  <a:pt x="56" y="78"/>
                </a:lnTo>
                <a:lnTo>
                  <a:pt x="62" y="71"/>
                </a:lnTo>
                <a:lnTo>
                  <a:pt x="68" y="66"/>
                </a:lnTo>
                <a:lnTo>
                  <a:pt x="75" y="60"/>
                </a:lnTo>
                <a:lnTo>
                  <a:pt x="82" y="56"/>
                </a:lnTo>
                <a:lnTo>
                  <a:pt x="89" y="51"/>
                </a:lnTo>
                <a:lnTo>
                  <a:pt x="97" y="48"/>
                </a:lnTo>
                <a:lnTo>
                  <a:pt x="101" y="46"/>
                </a:lnTo>
                <a:lnTo>
                  <a:pt x="105" y="45"/>
                </a:lnTo>
                <a:lnTo>
                  <a:pt x="110" y="44"/>
                </a:lnTo>
                <a:lnTo>
                  <a:pt x="111" y="43"/>
                </a:lnTo>
                <a:lnTo>
                  <a:pt x="111" y="53"/>
                </a:lnTo>
                <a:lnTo>
                  <a:pt x="143" y="27"/>
                </a:lnTo>
              </a:path>
            </a:pathLst>
          </a:custGeom>
          <a:solidFill>
            <a:srgbClr val="7F92B1"/>
          </a:solidFill>
          <a:ln w="38100">
            <a:solidFill>
              <a:schemeClr val="bg1"/>
            </a:solidFill>
          </a:ln>
          <a:extLst/>
        </p:spPr>
        <p:txBody>
          <a:bodyPr lIns="82720" tIns="41359" rIns="82720" bIns="41359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Freeform 14"/>
          <p:cNvSpPr>
            <a:spLocks/>
          </p:cNvSpPr>
          <p:nvPr/>
        </p:nvSpPr>
        <p:spPr bwMode="gray">
          <a:xfrm>
            <a:off x="5004000" y="3600000"/>
            <a:ext cx="992188" cy="1120775"/>
          </a:xfrm>
          <a:custGeom>
            <a:avLst/>
            <a:gdLst>
              <a:gd name="T0" fmla="*/ 7361883 w 131"/>
              <a:gd name="T1" fmla="*/ 0 h 147"/>
              <a:gd name="T2" fmla="*/ 14451105 w 131"/>
              <a:gd name="T3" fmla="*/ 8783216 h 147"/>
              <a:gd name="T4" fmla="*/ 11997143 w 131"/>
              <a:gd name="T5" fmla="*/ 8783216 h 147"/>
              <a:gd name="T6" fmla="*/ 12269806 w 131"/>
              <a:gd name="T7" fmla="*/ 9606643 h 147"/>
              <a:gd name="T8" fmla="*/ 12542468 w 131"/>
              <a:gd name="T9" fmla="*/ 10704545 h 147"/>
              <a:gd name="T10" fmla="*/ 12815131 w 131"/>
              <a:gd name="T11" fmla="*/ 12076922 h 147"/>
              <a:gd name="T12" fmla="*/ 13360455 w 131"/>
              <a:gd name="T13" fmla="*/ 13174824 h 147"/>
              <a:gd name="T14" fmla="*/ 13633118 w 131"/>
              <a:gd name="T15" fmla="*/ 14272727 h 147"/>
              <a:gd name="T16" fmla="*/ 14178442 w 131"/>
              <a:gd name="T17" fmla="*/ 15370629 h 147"/>
              <a:gd name="T18" fmla="*/ 15269092 w 131"/>
              <a:gd name="T19" fmla="*/ 17291957 h 147"/>
              <a:gd name="T20" fmla="*/ 16632403 w 131"/>
              <a:gd name="T21" fmla="*/ 19487761 h 147"/>
              <a:gd name="T22" fmla="*/ 17995715 w 131"/>
              <a:gd name="T23" fmla="*/ 21409090 h 147"/>
              <a:gd name="T24" fmla="*/ 19359027 w 131"/>
              <a:gd name="T25" fmla="*/ 23055943 h 147"/>
              <a:gd name="T26" fmla="*/ 21267663 w 131"/>
              <a:gd name="T27" fmla="*/ 24702796 h 147"/>
              <a:gd name="T28" fmla="*/ 22903637 w 131"/>
              <a:gd name="T29" fmla="*/ 26075173 h 147"/>
              <a:gd name="T30" fmla="*/ 25084936 w 131"/>
              <a:gd name="T31" fmla="*/ 27447551 h 147"/>
              <a:gd name="T32" fmla="*/ 26993573 w 131"/>
              <a:gd name="T33" fmla="*/ 28545453 h 147"/>
              <a:gd name="T34" fmla="*/ 29174872 w 131"/>
              <a:gd name="T35" fmla="*/ 29643355 h 147"/>
              <a:gd name="T36" fmla="*/ 30265521 w 131"/>
              <a:gd name="T37" fmla="*/ 29917831 h 147"/>
              <a:gd name="T38" fmla="*/ 31356170 w 131"/>
              <a:gd name="T39" fmla="*/ 30466782 h 147"/>
              <a:gd name="T40" fmla="*/ 32719482 w 131"/>
              <a:gd name="T41" fmla="*/ 30741257 h 147"/>
              <a:gd name="T42" fmla="*/ 33810132 w 131"/>
              <a:gd name="T43" fmla="*/ 31015733 h 147"/>
              <a:gd name="T44" fmla="*/ 34900781 w 131"/>
              <a:gd name="T45" fmla="*/ 31290208 h 147"/>
              <a:gd name="T46" fmla="*/ 35718768 w 131"/>
              <a:gd name="T47" fmla="*/ 31290208 h 147"/>
              <a:gd name="T48" fmla="*/ 30265521 w 131"/>
              <a:gd name="T49" fmla="*/ 35956292 h 147"/>
              <a:gd name="T50" fmla="*/ 35446106 w 131"/>
              <a:gd name="T51" fmla="*/ 40347900 h 147"/>
              <a:gd name="T52" fmla="*/ 34628119 w 131"/>
              <a:gd name="T53" fmla="*/ 40347900 h 147"/>
              <a:gd name="T54" fmla="*/ 32992144 w 131"/>
              <a:gd name="T55" fmla="*/ 40073424 h 147"/>
              <a:gd name="T56" fmla="*/ 31356170 w 131"/>
              <a:gd name="T57" fmla="*/ 39798949 h 147"/>
              <a:gd name="T58" fmla="*/ 29720196 w 131"/>
              <a:gd name="T59" fmla="*/ 39249998 h 147"/>
              <a:gd name="T60" fmla="*/ 28084222 w 131"/>
              <a:gd name="T61" fmla="*/ 38975522 h 147"/>
              <a:gd name="T62" fmla="*/ 26448248 w 131"/>
              <a:gd name="T63" fmla="*/ 38426571 h 147"/>
              <a:gd name="T64" fmla="*/ 25084936 w 131"/>
              <a:gd name="T65" fmla="*/ 37603145 h 147"/>
              <a:gd name="T66" fmla="*/ 23448962 w 131"/>
              <a:gd name="T67" fmla="*/ 37054194 h 147"/>
              <a:gd name="T68" fmla="*/ 22085650 w 131"/>
              <a:gd name="T69" fmla="*/ 36230767 h 147"/>
              <a:gd name="T70" fmla="*/ 20722339 w 131"/>
              <a:gd name="T71" fmla="*/ 35407341 h 147"/>
              <a:gd name="T72" fmla="*/ 19359027 w 131"/>
              <a:gd name="T73" fmla="*/ 34583914 h 147"/>
              <a:gd name="T74" fmla="*/ 17995715 w 131"/>
              <a:gd name="T75" fmla="*/ 33760488 h 147"/>
              <a:gd name="T76" fmla="*/ 16632403 w 131"/>
              <a:gd name="T77" fmla="*/ 32662586 h 147"/>
              <a:gd name="T78" fmla="*/ 15541754 w 131"/>
              <a:gd name="T79" fmla="*/ 31839159 h 147"/>
              <a:gd name="T80" fmla="*/ 14178442 w 131"/>
              <a:gd name="T81" fmla="*/ 30741257 h 147"/>
              <a:gd name="T82" fmla="*/ 13087793 w 131"/>
              <a:gd name="T83" fmla="*/ 29643355 h 147"/>
              <a:gd name="T84" fmla="*/ 11997143 w 131"/>
              <a:gd name="T85" fmla="*/ 28270978 h 147"/>
              <a:gd name="T86" fmla="*/ 10906494 w 131"/>
              <a:gd name="T87" fmla="*/ 27173076 h 147"/>
              <a:gd name="T88" fmla="*/ 9815845 w 131"/>
              <a:gd name="T89" fmla="*/ 25800698 h 147"/>
              <a:gd name="T90" fmla="*/ 8997858 w 131"/>
              <a:gd name="T91" fmla="*/ 24428320 h 147"/>
              <a:gd name="T92" fmla="*/ 8179871 w 131"/>
              <a:gd name="T93" fmla="*/ 23055943 h 147"/>
              <a:gd name="T94" fmla="*/ 7361883 w 131"/>
              <a:gd name="T95" fmla="*/ 21683565 h 147"/>
              <a:gd name="T96" fmla="*/ 6543896 w 131"/>
              <a:gd name="T97" fmla="*/ 20311188 h 147"/>
              <a:gd name="T98" fmla="*/ 5725909 w 131"/>
              <a:gd name="T99" fmla="*/ 18938810 h 147"/>
              <a:gd name="T100" fmla="*/ 5180585 w 131"/>
              <a:gd name="T101" fmla="*/ 17291957 h 147"/>
              <a:gd name="T102" fmla="*/ 4635260 w 131"/>
              <a:gd name="T103" fmla="*/ 15919580 h 147"/>
              <a:gd name="T104" fmla="*/ 4089935 w 131"/>
              <a:gd name="T105" fmla="*/ 14272727 h 147"/>
              <a:gd name="T106" fmla="*/ 3544611 w 131"/>
              <a:gd name="T107" fmla="*/ 12625873 h 147"/>
              <a:gd name="T108" fmla="*/ 3271948 w 131"/>
              <a:gd name="T109" fmla="*/ 10979020 h 147"/>
              <a:gd name="T110" fmla="*/ 2726624 w 131"/>
              <a:gd name="T111" fmla="*/ 9332167 h 147"/>
              <a:gd name="T112" fmla="*/ 2726624 w 131"/>
              <a:gd name="T113" fmla="*/ 8783216 h 147"/>
              <a:gd name="T114" fmla="*/ 0 w 131"/>
              <a:gd name="T115" fmla="*/ 8783216 h 147"/>
              <a:gd name="T116" fmla="*/ 2453961 w 131"/>
              <a:gd name="T117" fmla="*/ 6038461 h 147"/>
              <a:gd name="T118" fmla="*/ 2453961 w 131"/>
              <a:gd name="T119" fmla="*/ 5763986 h 147"/>
              <a:gd name="T120" fmla="*/ 2453961 w 131"/>
              <a:gd name="T121" fmla="*/ 5763986 h 147"/>
              <a:gd name="T122" fmla="*/ 7361883 w 131"/>
              <a:gd name="T123" fmla="*/ 0 h 14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31"/>
              <a:gd name="T187" fmla="*/ 0 h 147"/>
              <a:gd name="T188" fmla="*/ 131 w 131"/>
              <a:gd name="T189" fmla="*/ 147 h 14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31" h="147">
                <a:moveTo>
                  <a:pt x="27" y="0"/>
                </a:moveTo>
                <a:lnTo>
                  <a:pt x="53" y="32"/>
                </a:lnTo>
                <a:lnTo>
                  <a:pt x="44" y="32"/>
                </a:lnTo>
                <a:lnTo>
                  <a:pt x="45" y="35"/>
                </a:lnTo>
                <a:lnTo>
                  <a:pt x="46" y="39"/>
                </a:lnTo>
                <a:lnTo>
                  <a:pt x="47" y="44"/>
                </a:lnTo>
                <a:lnTo>
                  <a:pt x="49" y="48"/>
                </a:lnTo>
                <a:lnTo>
                  <a:pt x="50" y="52"/>
                </a:lnTo>
                <a:lnTo>
                  <a:pt x="52" y="56"/>
                </a:lnTo>
                <a:lnTo>
                  <a:pt x="56" y="63"/>
                </a:lnTo>
                <a:lnTo>
                  <a:pt x="61" y="71"/>
                </a:lnTo>
                <a:lnTo>
                  <a:pt x="66" y="78"/>
                </a:lnTo>
                <a:lnTo>
                  <a:pt x="71" y="84"/>
                </a:lnTo>
                <a:lnTo>
                  <a:pt x="78" y="90"/>
                </a:lnTo>
                <a:lnTo>
                  <a:pt x="84" y="95"/>
                </a:lnTo>
                <a:lnTo>
                  <a:pt x="92" y="100"/>
                </a:lnTo>
                <a:lnTo>
                  <a:pt x="99" y="104"/>
                </a:lnTo>
                <a:lnTo>
                  <a:pt x="107" y="108"/>
                </a:lnTo>
                <a:lnTo>
                  <a:pt x="111" y="109"/>
                </a:lnTo>
                <a:lnTo>
                  <a:pt x="115" y="111"/>
                </a:lnTo>
                <a:lnTo>
                  <a:pt x="120" y="112"/>
                </a:lnTo>
                <a:lnTo>
                  <a:pt x="124" y="113"/>
                </a:lnTo>
                <a:lnTo>
                  <a:pt x="128" y="114"/>
                </a:lnTo>
                <a:lnTo>
                  <a:pt x="131" y="114"/>
                </a:lnTo>
                <a:lnTo>
                  <a:pt x="111" y="131"/>
                </a:lnTo>
                <a:lnTo>
                  <a:pt x="130" y="147"/>
                </a:lnTo>
                <a:lnTo>
                  <a:pt x="127" y="147"/>
                </a:lnTo>
                <a:lnTo>
                  <a:pt x="121" y="146"/>
                </a:lnTo>
                <a:lnTo>
                  <a:pt x="115" y="145"/>
                </a:lnTo>
                <a:lnTo>
                  <a:pt x="109" y="143"/>
                </a:lnTo>
                <a:lnTo>
                  <a:pt x="103" y="142"/>
                </a:lnTo>
                <a:lnTo>
                  <a:pt x="97" y="140"/>
                </a:lnTo>
                <a:lnTo>
                  <a:pt x="92" y="137"/>
                </a:lnTo>
                <a:lnTo>
                  <a:pt x="86" y="135"/>
                </a:lnTo>
                <a:lnTo>
                  <a:pt x="81" y="132"/>
                </a:lnTo>
                <a:lnTo>
                  <a:pt x="76" y="129"/>
                </a:lnTo>
                <a:lnTo>
                  <a:pt x="71" y="126"/>
                </a:lnTo>
                <a:lnTo>
                  <a:pt x="66" y="123"/>
                </a:lnTo>
                <a:lnTo>
                  <a:pt x="61" y="119"/>
                </a:lnTo>
                <a:lnTo>
                  <a:pt x="57" y="116"/>
                </a:lnTo>
                <a:lnTo>
                  <a:pt x="52" y="112"/>
                </a:lnTo>
                <a:lnTo>
                  <a:pt x="48" y="108"/>
                </a:lnTo>
                <a:lnTo>
                  <a:pt x="44" y="103"/>
                </a:lnTo>
                <a:lnTo>
                  <a:pt x="40" y="99"/>
                </a:lnTo>
                <a:lnTo>
                  <a:pt x="36" y="94"/>
                </a:lnTo>
                <a:lnTo>
                  <a:pt x="33" y="89"/>
                </a:lnTo>
                <a:lnTo>
                  <a:pt x="30" y="84"/>
                </a:lnTo>
                <a:lnTo>
                  <a:pt x="27" y="79"/>
                </a:lnTo>
                <a:lnTo>
                  <a:pt x="24" y="74"/>
                </a:lnTo>
                <a:lnTo>
                  <a:pt x="21" y="69"/>
                </a:lnTo>
                <a:lnTo>
                  <a:pt x="19" y="63"/>
                </a:lnTo>
                <a:lnTo>
                  <a:pt x="17" y="58"/>
                </a:lnTo>
                <a:lnTo>
                  <a:pt x="15" y="52"/>
                </a:lnTo>
                <a:lnTo>
                  <a:pt x="13" y="46"/>
                </a:lnTo>
                <a:lnTo>
                  <a:pt x="12" y="40"/>
                </a:lnTo>
                <a:lnTo>
                  <a:pt x="10" y="34"/>
                </a:lnTo>
                <a:lnTo>
                  <a:pt x="10" y="32"/>
                </a:lnTo>
                <a:lnTo>
                  <a:pt x="0" y="32"/>
                </a:lnTo>
                <a:lnTo>
                  <a:pt x="9" y="22"/>
                </a:lnTo>
                <a:lnTo>
                  <a:pt x="9" y="21"/>
                </a:lnTo>
                <a:lnTo>
                  <a:pt x="27" y="0"/>
                </a:lnTo>
              </a:path>
            </a:pathLst>
          </a:custGeom>
          <a:solidFill>
            <a:srgbClr val="7F92B1"/>
          </a:solidFill>
          <a:ln w="38100">
            <a:solidFill>
              <a:schemeClr val="bg1"/>
            </a:solidFill>
          </a:ln>
          <a:extLst/>
        </p:spPr>
        <p:txBody>
          <a:bodyPr lIns="82720" tIns="41359" rIns="82720" bIns="41359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Freeform 12"/>
          <p:cNvSpPr>
            <a:spLocks/>
          </p:cNvSpPr>
          <p:nvPr/>
        </p:nvSpPr>
        <p:spPr bwMode="gray">
          <a:xfrm>
            <a:off x="6192000" y="2664000"/>
            <a:ext cx="1001712" cy="1104900"/>
          </a:xfrm>
          <a:custGeom>
            <a:avLst/>
            <a:gdLst>
              <a:gd name="T0" fmla="*/ 33056496 w 132"/>
              <a:gd name="T1" fmla="*/ 34290000 h 145"/>
              <a:gd name="T2" fmla="*/ 33876079 w 132"/>
              <a:gd name="T3" fmla="*/ 33741360 h 145"/>
              <a:gd name="T4" fmla="*/ 33602884 w 132"/>
              <a:gd name="T5" fmla="*/ 30998160 h 145"/>
              <a:gd name="T6" fmla="*/ 33329690 w 132"/>
              <a:gd name="T7" fmla="*/ 29352240 h 145"/>
              <a:gd name="T8" fmla="*/ 32510108 w 132"/>
              <a:gd name="T9" fmla="*/ 26060400 h 145"/>
              <a:gd name="T10" fmla="*/ 31417331 w 132"/>
              <a:gd name="T11" fmla="*/ 23042880 h 145"/>
              <a:gd name="T12" fmla="*/ 30051360 w 132"/>
              <a:gd name="T13" fmla="*/ 20025360 h 145"/>
              <a:gd name="T14" fmla="*/ 28412195 w 132"/>
              <a:gd name="T15" fmla="*/ 17282160 h 145"/>
              <a:gd name="T16" fmla="*/ 26499836 w 132"/>
              <a:gd name="T17" fmla="*/ 14538960 h 145"/>
              <a:gd name="T18" fmla="*/ 24314282 w 132"/>
              <a:gd name="T19" fmla="*/ 12070080 h 145"/>
              <a:gd name="T20" fmla="*/ 22128729 w 132"/>
              <a:gd name="T21" fmla="*/ 9875520 h 145"/>
              <a:gd name="T22" fmla="*/ 19669981 w 132"/>
              <a:gd name="T23" fmla="*/ 7680960 h 145"/>
              <a:gd name="T24" fmla="*/ 16938039 w 132"/>
              <a:gd name="T25" fmla="*/ 5760720 h 145"/>
              <a:gd name="T26" fmla="*/ 14206097 w 132"/>
              <a:gd name="T27" fmla="*/ 4114800 h 145"/>
              <a:gd name="T28" fmla="*/ 11200961 w 132"/>
              <a:gd name="T29" fmla="*/ 2743200 h 145"/>
              <a:gd name="T30" fmla="*/ 8195825 w 132"/>
              <a:gd name="T31" fmla="*/ 1645920 h 145"/>
              <a:gd name="T32" fmla="*/ 4917495 w 132"/>
              <a:gd name="T33" fmla="*/ 822960 h 145"/>
              <a:gd name="T34" fmla="*/ 1639165 w 132"/>
              <a:gd name="T35" fmla="*/ 274320 h 145"/>
              <a:gd name="T36" fmla="*/ 0 w 132"/>
              <a:gd name="T37" fmla="*/ 822960 h 145"/>
              <a:gd name="T38" fmla="*/ 273194 w 132"/>
              <a:gd name="T39" fmla="*/ 9326880 h 145"/>
              <a:gd name="T40" fmla="*/ 2458748 w 132"/>
              <a:gd name="T41" fmla="*/ 9875520 h 145"/>
              <a:gd name="T42" fmla="*/ 4917495 w 132"/>
              <a:gd name="T43" fmla="*/ 10424160 h 145"/>
              <a:gd name="T44" fmla="*/ 7103049 w 132"/>
              <a:gd name="T45" fmla="*/ 10972800 h 145"/>
              <a:gd name="T46" fmla="*/ 9288602 w 132"/>
              <a:gd name="T47" fmla="*/ 12070080 h 145"/>
              <a:gd name="T48" fmla="*/ 13386515 w 132"/>
              <a:gd name="T49" fmla="*/ 14538960 h 145"/>
              <a:gd name="T50" fmla="*/ 16938039 w 132"/>
              <a:gd name="T51" fmla="*/ 17556480 h 145"/>
              <a:gd name="T52" fmla="*/ 19943175 w 132"/>
              <a:gd name="T53" fmla="*/ 21122640 h 145"/>
              <a:gd name="T54" fmla="*/ 22401923 w 132"/>
              <a:gd name="T55" fmla="*/ 24963120 h 145"/>
              <a:gd name="T56" fmla="*/ 23221505 w 132"/>
              <a:gd name="T57" fmla="*/ 27157680 h 145"/>
              <a:gd name="T58" fmla="*/ 24041088 w 132"/>
              <a:gd name="T59" fmla="*/ 29626560 h 145"/>
              <a:gd name="T60" fmla="*/ 24314282 w 132"/>
              <a:gd name="T61" fmla="*/ 30998160 h 145"/>
              <a:gd name="T62" fmla="*/ 28685389 w 132"/>
              <a:gd name="T63" fmla="*/ 39776400 h 14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32"/>
              <a:gd name="T97" fmla="*/ 0 h 145"/>
              <a:gd name="T98" fmla="*/ 132 w 132"/>
              <a:gd name="T99" fmla="*/ 145 h 14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32" h="145">
                <a:moveTo>
                  <a:pt x="105" y="145"/>
                </a:moveTo>
                <a:lnTo>
                  <a:pt x="121" y="125"/>
                </a:lnTo>
                <a:lnTo>
                  <a:pt x="124" y="125"/>
                </a:lnTo>
                <a:lnTo>
                  <a:pt x="124" y="123"/>
                </a:lnTo>
                <a:lnTo>
                  <a:pt x="132" y="113"/>
                </a:lnTo>
                <a:lnTo>
                  <a:pt x="123" y="113"/>
                </a:lnTo>
                <a:lnTo>
                  <a:pt x="122" y="107"/>
                </a:lnTo>
                <a:lnTo>
                  <a:pt x="120" y="101"/>
                </a:lnTo>
                <a:lnTo>
                  <a:pt x="119" y="95"/>
                </a:lnTo>
                <a:lnTo>
                  <a:pt x="117" y="90"/>
                </a:lnTo>
                <a:lnTo>
                  <a:pt x="115" y="84"/>
                </a:lnTo>
                <a:lnTo>
                  <a:pt x="112" y="79"/>
                </a:lnTo>
                <a:lnTo>
                  <a:pt x="110" y="73"/>
                </a:lnTo>
                <a:lnTo>
                  <a:pt x="107" y="68"/>
                </a:lnTo>
                <a:lnTo>
                  <a:pt x="104" y="63"/>
                </a:lnTo>
                <a:lnTo>
                  <a:pt x="100" y="58"/>
                </a:lnTo>
                <a:lnTo>
                  <a:pt x="97" y="53"/>
                </a:lnTo>
                <a:lnTo>
                  <a:pt x="93" y="49"/>
                </a:lnTo>
                <a:lnTo>
                  <a:pt x="89" y="44"/>
                </a:lnTo>
                <a:lnTo>
                  <a:pt x="85" y="40"/>
                </a:lnTo>
                <a:lnTo>
                  <a:pt x="81" y="36"/>
                </a:lnTo>
                <a:lnTo>
                  <a:pt x="77" y="32"/>
                </a:lnTo>
                <a:lnTo>
                  <a:pt x="72" y="28"/>
                </a:lnTo>
                <a:lnTo>
                  <a:pt x="67" y="25"/>
                </a:lnTo>
                <a:lnTo>
                  <a:pt x="62" y="21"/>
                </a:lnTo>
                <a:lnTo>
                  <a:pt x="57" y="18"/>
                </a:lnTo>
                <a:lnTo>
                  <a:pt x="52" y="15"/>
                </a:lnTo>
                <a:lnTo>
                  <a:pt x="47" y="13"/>
                </a:lnTo>
                <a:lnTo>
                  <a:pt x="41" y="10"/>
                </a:lnTo>
                <a:lnTo>
                  <a:pt x="36" y="8"/>
                </a:lnTo>
                <a:lnTo>
                  <a:pt x="30" y="6"/>
                </a:lnTo>
                <a:lnTo>
                  <a:pt x="24" y="4"/>
                </a:lnTo>
                <a:lnTo>
                  <a:pt x="18" y="3"/>
                </a:lnTo>
                <a:lnTo>
                  <a:pt x="12" y="2"/>
                </a:lnTo>
                <a:lnTo>
                  <a:pt x="6" y="1"/>
                </a:lnTo>
                <a:lnTo>
                  <a:pt x="0" y="0"/>
                </a:lnTo>
                <a:lnTo>
                  <a:pt x="0" y="3"/>
                </a:lnTo>
                <a:lnTo>
                  <a:pt x="19" y="19"/>
                </a:lnTo>
                <a:lnTo>
                  <a:pt x="1" y="34"/>
                </a:lnTo>
                <a:lnTo>
                  <a:pt x="5" y="35"/>
                </a:lnTo>
                <a:lnTo>
                  <a:pt x="9" y="36"/>
                </a:lnTo>
                <a:lnTo>
                  <a:pt x="13" y="37"/>
                </a:lnTo>
                <a:lnTo>
                  <a:pt x="18" y="38"/>
                </a:lnTo>
                <a:lnTo>
                  <a:pt x="22" y="39"/>
                </a:lnTo>
                <a:lnTo>
                  <a:pt x="26" y="40"/>
                </a:lnTo>
                <a:lnTo>
                  <a:pt x="30" y="42"/>
                </a:lnTo>
                <a:lnTo>
                  <a:pt x="34" y="44"/>
                </a:lnTo>
                <a:lnTo>
                  <a:pt x="41" y="48"/>
                </a:lnTo>
                <a:lnTo>
                  <a:pt x="49" y="53"/>
                </a:lnTo>
                <a:lnTo>
                  <a:pt x="55" y="58"/>
                </a:lnTo>
                <a:lnTo>
                  <a:pt x="62" y="64"/>
                </a:lnTo>
                <a:lnTo>
                  <a:pt x="68" y="70"/>
                </a:lnTo>
                <a:lnTo>
                  <a:pt x="73" y="77"/>
                </a:lnTo>
                <a:lnTo>
                  <a:pt x="77" y="84"/>
                </a:lnTo>
                <a:lnTo>
                  <a:pt x="82" y="91"/>
                </a:lnTo>
                <a:lnTo>
                  <a:pt x="83" y="95"/>
                </a:lnTo>
                <a:lnTo>
                  <a:pt x="85" y="99"/>
                </a:lnTo>
                <a:lnTo>
                  <a:pt x="86" y="104"/>
                </a:lnTo>
                <a:lnTo>
                  <a:pt x="88" y="108"/>
                </a:lnTo>
                <a:lnTo>
                  <a:pt x="89" y="112"/>
                </a:lnTo>
                <a:lnTo>
                  <a:pt x="89" y="113"/>
                </a:lnTo>
                <a:lnTo>
                  <a:pt x="79" y="113"/>
                </a:lnTo>
                <a:lnTo>
                  <a:pt x="105" y="145"/>
                </a:lnTo>
              </a:path>
            </a:pathLst>
          </a:custGeom>
          <a:solidFill>
            <a:srgbClr val="7F92B1"/>
          </a:solidFill>
          <a:ln w="38100">
            <a:solidFill>
              <a:schemeClr val="bg1"/>
            </a:solidFill>
          </a:ln>
          <a:extLst/>
        </p:spPr>
        <p:txBody>
          <a:bodyPr lIns="82720" tIns="41359" rIns="82720" bIns="41359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Oval 10"/>
          <p:cNvSpPr>
            <a:spLocks noChangeArrowheads="1"/>
          </p:cNvSpPr>
          <p:nvPr/>
        </p:nvSpPr>
        <p:spPr bwMode="gray">
          <a:xfrm>
            <a:off x="5472000" y="3060000"/>
            <a:ext cx="1304925" cy="1309688"/>
          </a:xfrm>
          <a:prstGeom prst="ellipse">
            <a:avLst/>
          </a:prstGeom>
          <a:solidFill>
            <a:srgbClr val="002663"/>
          </a:solidFill>
          <a:ln>
            <a:noFill/>
          </a:ln>
        </p:spPr>
        <p:txBody>
          <a:bodyPr wrap="none" lIns="82845" tIns="41422" rIns="82845" bIns="41422" anchor="ctr"/>
          <a:lstStyle/>
          <a:p>
            <a:pPr algn="ctr" defTabSz="827088"/>
            <a:r>
              <a:rPr lang="de-DE" sz="16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760468592"/>
      </p:ext>
    </p:extLst>
  </p:cSld>
  <p:clrMapOvr>
    <a:masterClrMapping/>
  </p:clrMapOvr>
  <p:transition spd="slow">
    <p:push dir="u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659" name="Rectangle 1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3 Aspects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0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0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aphicFrame>
        <p:nvGraphicFramePr>
          <p:cNvPr id="966658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216553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1" name="think-cell Folie" r:id="rId6" imgW="0" imgH="0" progId="TCLayout.ActiveDocument.1">
                  <p:embed/>
                </p:oleObj>
              </mc:Choice>
              <mc:Fallback>
                <p:oleObj name="think-cell Foli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AutoShape 3"/>
          <p:cNvSpPr>
            <a:spLocks noChangeArrowheads="1"/>
          </p:cNvSpPr>
          <p:nvPr/>
        </p:nvSpPr>
        <p:spPr bwMode="gray">
          <a:xfrm>
            <a:off x="1776417" y="2003425"/>
            <a:ext cx="1271587" cy="1203024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noFill/>
          </a:ln>
        </p:spPr>
        <p:txBody>
          <a:bodyPr wrap="square" lIns="82845" tIns="41422" rIns="82845" bIns="41422" anchor="ctr"/>
          <a:lstStyle/>
          <a:p>
            <a:pPr defTabSz="827088"/>
            <a:r>
              <a:rPr lang="de-DE" sz="16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4" name="AutoShape 3"/>
          <p:cNvSpPr>
            <a:spLocks noChangeArrowheads="1"/>
          </p:cNvSpPr>
          <p:nvPr/>
        </p:nvSpPr>
        <p:spPr bwMode="gray">
          <a:xfrm>
            <a:off x="1776417" y="3374381"/>
            <a:ext cx="1271587" cy="1203024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noFill/>
          </a:ln>
        </p:spPr>
        <p:txBody>
          <a:bodyPr wrap="square" lIns="82845" tIns="41422" rIns="82845" bIns="41422" anchor="ctr"/>
          <a:lstStyle/>
          <a:p>
            <a:pPr defTabSz="827088"/>
            <a:r>
              <a:rPr lang="de-DE" sz="16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AutoShape 3"/>
          <p:cNvSpPr>
            <a:spLocks noChangeArrowheads="1"/>
          </p:cNvSpPr>
          <p:nvPr/>
        </p:nvSpPr>
        <p:spPr bwMode="gray">
          <a:xfrm>
            <a:off x="1776417" y="4745339"/>
            <a:ext cx="1271587" cy="1203024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noFill/>
          </a:ln>
        </p:spPr>
        <p:txBody>
          <a:bodyPr wrap="square" lIns="82845" tIns="41422" rIns="82845" bIns="41422" anchor="ctr"/>
          <a:lstStyle/>
          <a:p>
            <a:pPr defTabSz="827088"/>
            <a:r>
              <a:rPr lang="de-DE" sz="16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5" name="Text Placeholder 7"/>
          <p:cNvSpPr txBox="1">
            <a:spLocks/>
          </p:cNvSpPr>
          <p:nvPr/>
        </p:nvSpPr>
        <p:spPr>
          <a:xfrm rot="5400000">
            <a:off x="4648647" y="-109984"/>
            <a:ext cx="517527" cy="3563245"/>
          </a:xfrm>
          <a:prstGeom prst="rect">
            <a:avLst/>
          </a:prstGeom>
          <a:solidFill>
            <a:srgbClr val="002663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0" name="Text Placeholder 7"/>
          <p:cNvSpPr txBox="1">
            <a:spLocks/>
          </p:cNvSpPr>
          <p:nvPr/>
        </p:nvSpPr>
        <p:spPr>
          <a:xfrm rot="5400000">
            <a:off x="8375200" y="-109984"/>
            <a:ext cx="517527" cy="3563245"/>
          </a:xfrm>
          <a:prstGeom prst="rect">
            <a:avLst/>
          </a:prstGeom>
          <a:solidFill>
            <a:srgbClr val="002663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6" name="Text Placeholder 7"/>
          <p:cNvSpPr txBox="1">
            <a:spLocks/>
          </p:cNvSpPr>
          <p:nvPr/>
        </p:nvSpPr>
        <p:spPr bwMode="gray">
          <a:xfrm>
            <a:off x="3125786" y="2003425"/>
            <a:ext cx="3563248" cy="1203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7" name="Text Placeholder 7"/>
          <p:cNvSpPr txBox="1">
            <a:spLocks/>
          </p:cNvSpPr>
          <p:nvPr/>
        </p:nvSpPr>
        <p:spPr bwMode="gray">
          <a:xfrm>
            <a:off x="3125786" y="3374381"/>
            <a:ext cx="3563248" cy="1203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8" name="Text Placeholder 7"/>
          <p:cNvSpPr txBox="1">
            <a:spLocks/>
          </p:cNvSpPr>
          <p:nvPr/>
        </p:nvSpPr>
        <p:spPr bwMode="gray">
          <a:xfrm>
            <a:off x="3125786" y="4745339"/>
            <a:ext cx="3563248" cy="1203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1" name="Text Placeholder 7"/>
          <p:cNvSpPr txBox="1">
            <a:spLocks/>
          </p:cNvSpPr>
          <p:nvPr/>
        </p:nvSpPr>
        <p:spPr bwMode="gray">
          <a:xfrm>
            <a:off x="6852340" y="2003425"/>
            <a:ext cx="3563248" cy="1203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2" name="Text Placeholder 7"/>
          <p:cNvSpPr txBox="1">
            <a:spLocks/>
          </p:cNvSpPr>
          <p:nvPr/>
        </p:nvSpPr>
        <p:spPr bwMode="gray">
          <a:xfrm>
            <a:off x="6852340" y="3374381"/>
            <a:ext cx="3563248" cy="1203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3" name="Text Placeholder 7"/>
          <p:cNvSpPr txBox="1">
            <a:spLocks/>
          </p:cNvSpPr>
          <p:nvPr/>
        </p:nvSpPr>
        <p:spPr bwMode="gray">
          <a:xfrm>
            <a:off x="6852340" y="4745339"/>
            <a:ext cx="3563248" cy="1203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1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009491583"/>
      </p:ext>
    </p:extLst>
  </p:cSld>
  <p:clrMapOvr>
    <a:masterClrMapping/>
  </p:clrMapOvr>
  <p:transition spd="slow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406" name="Rectangle 20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3 </a:t>
            </a:r>
            <a:r>
              <a:rPr lang="de-DE" dirty="0" err="1"/>
              <a:t>Phases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5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6562" name="Freeform 2"/>
          <p:cNvSpPr>
            <a:spLocks/>
          </p:cNvSpPr>
          <p:nvPr/>
        </p:nvSpPr>
        <p:spPr bwMode="gray">
          <a:xfrm>
            <a:off x="7123019" y="2105030"/>
            <a:ext cx="2901074" cy="3552825"/>
          </a:xfrm>
          <a:custGeom>
            <a:avLst/>
            <a:gdLst>
              <a:gd name="T0" fmla="*/ 2147483647 w 1734"/>
              <a:gd name="T1" fmla="*/ 0 h 2238"/>
              <a:gd name="T2" fmla="*/ 2147483647 w 1734"/>
              <a:gd name="T3" fmla="*/ 2147483647 h 2238"/>
              <a:gd name="T4" fmla="*/ 0 w 1734"/>
              <a:gd name="T5" fmla="*/ 2147483647 h 2238"/>
              <a:gd name="T6" fmla="*/ 0 w 1734"/>
              <a:gd name="T7" fmla="*/ 2147483647 h 2238"/>
              <a:gd name="T8" fmla="*/ 2147483647 w 1734"/>
              <a:gd name="T9" fmla="*/ 2147483647 h 2238"/>
              <a:gd name="T10" fmla="*/ 2147483647 w 1734"/>
              <a:gd name="T11" fmla="*/ 2147483647 h 2238"/>
              <a:gd name="T12" fmla="*/ 2147483647 w 1734"/>
              <a:gd name="T13" fmla="*/ 2147483647 h 2238"/>
              <a:gd name="T14" fmla="*/ 2147483647 w 1734"/>
              <a:gd name="T15" fmla="*/ 0 h 223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34"/>
              <a:gd name="T25" fmla="*/ 0 h 2238"/>
              <a:gd name="T26" fmla="*/ 1734 w 1734"/>
              <a:gd name="T27" fmla="*/ 2238 h 223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34" h="2238">
                <a:moveTo>
                  <a:pt x="1734" y="0"/>
                </a:moveTo>
                <a:lnTo>
                  <a:pt x="1734" y="2238"/>
                </a:lnTo>
                <a:lnTo>
                  <a:pt x="0" y="2238"/>
                </a:lnTo>
                <a:lnTo>
                  <a:pt x="0" y="887"/>
                </a:lnTo>
                <a:lnTo>
                  <a:pt x="415" y="396"/>
                </a:lnTo>
                <a:lnTo>
                  <a:pt x="966" y="76"/>
                </a:lnTo>
                <a:lnTo>
                  <a:pt x="1464" y="42"/>
                </a:lnTo>
                <a:lnTo>
                  <a:pt x="1734" y="0"/>
                </a:lnTo>
                <a:close/>
              </a:path>
            </a:pathLst>
          </a:custGeom>
          <a:solidFill>
            <a:srgbClr val="B3D5F2"/>
          </a:solidFill>
          <a:ln w="12700">
            <a:solidFill>
              <a:schemeClr val="bg1"/>
            </a:solidFill>
            <a:round/>
            <a:headEnd/>
            <a:tailEnd/>
          </a:ln>
          <a:extLst/>
        </p:spPr>
        <p:txBody>
          <a:bodyPr wrap="none" lIns="91338" tIns="45670" rIns="91338" bIns="45670" anchor="ctr"/>
          <a:lstStyle/>
          <a:p>
            <a:pPr defTabSz="912673"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1395" name="Freeform 3"/>
          <p:cNvSpPr>
            <a:spLocks/>
          </p:cNvSpPr>
          <p:nvPr/>
        </p:nvSpPr>
        <p:spPr bwMode="gray">
          <a:xfrm>
            <a:off x="4554888" y="3133730"/>
            <a:ext cx="2720385" cy="2524125"/>
          </a:xfrm>
          <a:custGeom>
            <a:avLst/>
            <a:gdLst>
              <a:gd name="T0" fmla="*/ 2147483647 w 1734"/>
              <a:gd name="T1" fmla="*/ 0 h 1590"/>
              <a:gd name="T2" fmla="*/ 2147483647 w 1734"/>
              <a:gd name="T3" fmla="*/ 2147483647 h 1590"/>
              <a:gd name="T4" fmla="*/ 0 w 1734"/>
              <a:gd name="T5" fmla="*/ 2147483647 h 1590"/>
              <a:gd name="T6" fmla="*/ 0 w 1734"/>
              <a:gd name="T7" fmla="*/ 2147483647 h 1590"/>
              <a:gd name="T8" fmla="*/ 2147483647 w 1734"/>
              <a:gd name="T9" fmla="*/ 2147483647 h 1590"/>
              <a:gd name="T10" fmla="*/ 2147483647 w 1734"/>
              <a:gd name="T11" fmla="*/ 2147483647 h 1590"/>
              <a:gd name="T12" fmla="*/ 2147483647 w 1734"/>
              <a:gd name="T13" fmla="*/ 2147483647 h 1590"/>
              <a:gd name="T14" fmla="*/ 2147483647 w 1734"/>
              <a:gd name="T15" fmla="*/ 0 h 159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34"/>
              <a:gd name="T25" fmla="*/ 0 h 1590"/>
              <a:gd name="T26" fmla="*/ 1734 w 1734"/>
              <a:gd name="T27" fmla="*/ 1590 h 159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34" h="1590">
                <a:moveTo>
                  <a:pt x="1734" y="0"/>
                </a:moveTo>
                <a:lnTo>
                  <a:pt x="1734" y="1590"/>
                </a:lnTo>
                <a:lnTo>
                  <a:pt x="0" y="1590"/>
                </a:lnTo>
                <a:lnTo>
                  <a:pt x="0" y="630"/>
                </a:lnTo>
                <a:lnTo>
                  <a:pt x="504" y="354"/>
                </a:lnTo>
                <a:lnTo>
                  <a:pt x="966" y="54"/>
                </a:lnTo>
                <a:lnTo>
                  <a:pt x="1464" y="30"/>
                </a:lnTo>
                <a:lnTo>
                  <a:pt x="1734" y="0"/>
                </a:lnTo>
                <a:close/>
              </a:path>
            </a:pathLst>
          </a:custGeom>
          <a:solidFill>
            <a:srgbClr val="B3D5F2"/>
          </a:solidFill>
          <a:ln w="12700">
            <a:solidFill>
              <a:schemeClr val="bg1"/>
            </a:solidFill>
          </a:ln>
          <a:extLst/>
        </p:spPr>
        <p:txBody>
          <a:bodyPr wrap="none" lIns="91338" tIns="45670" rIns="91338" bIns="45670" anchor="ctr"/>
          <a:lstStyle/>
          <a:p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66564" name="Freeform 4"/>
          <p:cNvSpPr>
            <a:spLocks/>
          </p:cNvSpPr>
          <p:nvPr/>
        </p:nvSpPr>
        <p:spPr bwMode="gray">
          <a:xfrm>
            <a:off x="1817768" y="4171950"/>
            <a:ext cx="2747154" cy="1485900"/>
          </a:xfrm>
          <a:custGeom>
            <a:avLst/>
            <a:gdLst>
              <a:gd name="T0" fmla="*/ 2147483647 w 1614"/>
              <a:gd name="T1" fmla="*/ 0 h 936"/>
              <a:gd name="T2" fmla="*/ 2147483647 w 1614"/>
              <a:gd name="T3" fmla="*/ 2147483647 h 936"/>
              <a:gd name="T4" fmla="*/ 0 w 1614"/>
              <a:gd name="T5" fmla="*/ 2147483647 h 936"/>
              <a:gd name="T6" fmla="*/ 0 w 1614"/>
              <a:gd name="T7" fmla="*/ 2147483647 h 936"/>
              <a:gd name="T8" fmla="*/ 2147483647 w 1614"/>
              <a:gd name="T9" fmla="*/ 2147483647 h 936"/>
              <a:gd name="T10" fmla="*/ 2147483647 w 1614"/>
              <a:gd name="T11" fmla="*/ 2147483647 h 936"/>
              <a:gd name="T12" fmla="*/ 2147483647 w 1614"/>
              <a:gd name="T13" fmla="*/ 2147483647 h 936"/>
              <a:gd name="T14" fmla="*/ 2147483647 w 1614"/>
              <a:gd name="T15" fmla="*/ 0 h 9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614"/>
              <a:gd name="T25" fmla="*/ 0 h 936"/>
              <a:gd name="T26" fmla="*/ 1614 w 1614"/>
              <a:gd name="T27" fmla="*/ 936 h 9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614" h="936">
                <a:moveTo>
                  <a:pt x="1614" y="0"/>
                </a:moveTo>
                <a:lnTo>
                  <a:pt x="1614" y="936"/>
                </a:lnTo>
                <a:lnTo>
                  <a:pt x="0" y="936"/>
                </a:lnTo>
                <a:lnTo>
                  <a:pt x="0" y="732"/>
                </a:lnTo>
                <a:lnTo>
                  <a:pt x="402" y="402"/>
                </a:lnTo>
                <a:lnTo>
                  <a:pt x="876" y="180"/>
                </a:lnTo>
                <a:lnTo>
                  <a:pt x="1392" y="120"/>
                </a:lnTo>
                <a:lnTo>
                  <a:pt x="1614" y="0"/>
                </a:lnTo>
                <a:close/>
              </a:path>
            </a:pathLst>
          </a:custGeom>
          <a:solidFill>
            <a:srgbClr val="B3D5F2"/>
          </a:solidFill>
          <a:ln w="12700">
            <a:solidFill>
              <a:schemeClr val="bg1"/>
            </a:solidFill>
          </a:ln>
          <a:extLst/>
        </p:spPr>
        <p:txBody>
          <a:bodyPr wrap="none" lIns="91338" tIns="45670" rIns="91338" bIns="45670" anchor="ctr"/>
          <a:lstStyle/>
          <a:p>
            <a:pPr defTabSz="912673"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1397" name="Freeform 7"/>
          <p:cNvSpPr>
            <a:spLocks/>
          </p:cNvSpPr>
          <p:nvPr/>
        </p:nvSpPr>
        <p:spPr bwMode="gray">
          <a:xfrm rot="1526710">
            <a:off x="2527147" y="3265488"/>
            <a:ext cx="2041125" cy="2163762"/>
          </a:xfrm>
          <a:custGeom>
            <a:avLst/>
            <a:gdLst>
              <a:gd name="T0" fmla="*/ 2147483647 w 2882"/>
              <a:gd name="T1" fmla="*/ 0 h 2437"/>
              <a:gd name="T2" fmla="*/ 2147483647 w 2882"/>
              <a:gd name="T3" fmla="*/ 2147483647 h 2437"/>
              <a:gd name="T4" fmla="*/ 2147483647 w 2882"/>
              <a:gd name="T5" fmla="*/ 2147483647 h 2437"/>
              <a:gd name="T6" fmla="*/ 2147483647 w 2882"/>
              <a:gd name="T7" fmla="*/ 2147483647 h 2437"/>
              <a:gd name="T8" fmla="*/ 2147483647 w 2882"/>
              <a:gd name="T9" fmla="*/ 2147483647 h 2437"/>
              <a:gd name="T10" fmla="*/ 2147483647 w 2882"/>
              <a:gd name="T11" fmla="*/ 2147483647 h 2437"/>
              <a:gd name="T12" fmla="*/ 2147483647 w 2882"/>
              <a:gd name="T13" fmla="*/ 0 h 24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82"/>
              <a:gd name="T22" fmla="*/ 0 h 2437"/>
              <a:gd name="T23" fmla="*/ 2882 w 2882"/>
              <a:gd name="T24" fmla="*/ 2437 h 24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82" h="2437">
                <a:moveTo>
                  <a:pt x="1933" y="0"/>
                </a:moveTo>
                <a:lnTo>
                  <a:pt x="2882" y="444"/>
                </a:lnTo>
                <a:lnTo>
                  <a:pt x="2795" y="1332"/>
                </a:lnTo>
                <a:lnTo>
                  <a:pt x="2576" y="1014"/>
                </a:lnTo>
                <a:cubicBezTo>
                  <a:pt x="1477" y="1114"/>
                  <a:pt x="906" y="1668"/>
                  <a:pt x="245" y="2437"/>
                </a:cubicBezTo>
                <a:cubicBezTo>
                  <a:pt x="245" y="2437"/>
                  <a:pt x="0" y="1085"/>
                  <a:pt x="2126" y="333"/>
                </a:cubicBezTo>
                <a:cubicBezTo>
                  <a:pt x="2027" y="165"/>
                  <a:pt x="1933" y="0"/>
                  <a:pt x="1933" y="0"/>
                </a:cubicBezTo>
                <a:close/>
              </a:path>
            </a:pathLst>
          </a:custGeom>
          <a:solidFill>
            <a:srgbClr val="335182"/>
          </a:solidFill>
          <a:ln>
            <a:noFill/>
          </a:ln>
        </p:spPr>
        <p:txBody>
          <a:bodyPr wrap="none" lIns="82845" tIns="41422" rIns="82845" bIns="41422" anchor="ctr"/>
          <a:lstStyle/>
          <a:p>
            <a:pPr defTabSz="827088"/>
            <a:endParaRPr lang="en-GB" sz="1600">
              <a:solidFill>
                <a:srgbClr val="FFFFFF"/>
              </a:solidFill>
            </a:endParaRPr>
          </a:p>
        </p:txBody>
      </p:sp>
      <p:sp>
        <p:nvSpPr>
          <p:cNvPr id="571401" name="Rectangle 8"/>
          <p:cNvSpPr>
            <a:spLocks noChangeArrowheads="1"/>
          </p:cNvSpPr>
          <p:nvPr/>
        </p:nvSpPr>
        <p:spPr bwMode="gray">
          <a:xfrm>
            <a:off x="1704005" y="5543550"/>
            <a:ext cx="8420477" cy="3238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8" tIns="45670" rIns="91338" bIns="45670" anchor="ctr"/>
          <a:lstStyle/>
          <a:p>
            <a:pPr defTabSz="911225"/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1402" name="AutoShape 9"/>
          <p:cNvSpPr>
            <a:spLocks noChangeArrowheads="1"/>
          </p:cNvSpPr>
          <p:nvPr/>
        </p:nvSpPr>
        <p:spPr bwMode="gray">
          <a:xfrm>
            <a:off x="1809402" y="5494338"/>
            <a:ext cx="8606186" cy="577850"/>
          </a:xfrm>
          <a:prstGeom prst="rightArrow">
            <a:avLst>
              <a:gd name="adj1" fmla="val 60991"/>
              <a:gd name="adj2" fmla="val 52798"/>
            </a:avLst>
          </a:prstGeom>
          <a:solidFill>
            <a:schemeClr val="accent6"/>
          </a:solidFill>
          <a:ln>
            <a:noFill/>
          </a:ln>
          <a:extLst/>
        </p:spPr>
        <p:txBody>
          <a:bodyPr lIns="91338" tIns="45670" rIns="91338" bIns="45670"/>
          <a:lstStyle/>
          <a:p>
            <a:pPr defTabSz="911225"/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1403" name="Text Box 10"/>
          <p:cNvSpPr txBox="1">
            <a:spLocks noChangeArrowheads="1"/>
          </p:cNvSpPr>
          <p:nvPr/>
        </p:nvSpPr>
        <p:spPr bwMode="gray">
          <a:xfrm>
            <a:off x="3286085" y="5645562"/>
            <a:ext cx="3157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122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800">
                <a:solidFill>
                  <a:srgbClr val="FFFFFF"/>
                </a:solidFill>
                <a:latin typeface="+mn-lt"/>
                <a:cs typeface="Arial" charset="0"/>
              </a:rPr>
              <a:t>Zeit</a:t>
            </a:r>
          </a:p>
        </p:txBody>
      </p:sp>
      <p:sp>
        <p:nvSpPr>
          <p:cNvPr id="571404" name="Text Box 11"/>
          <p:cNvSpPr txBox="1">
            <a:spLocks noChangeArrowheads="1"/>
          </p:cNvSpPr>
          <p:nvPr/>
        </p:nvSpPr>
        <p:spPr bwMode="gray">
          <a:xfrm>
            <a:off x="5834145" y="5645562"/>
            <a:ext cx="3157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122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800">
                <a:solidFill>
                  <a:srgbClr val="FFFFFF"/>
                </a:solidFill>
                <a:latin typeface="+mn-lt"/>
                <a:cs typeface="Arial" charset="0"/>
              </a:rPr>
              <a:t>Zeit</a:t>
            </a:r>
          </a:p>
        </p:txBody>
      </p:sp>
      <p:sp>
        <p:nvSpPr>
          <p:cNvPr id="571405" name="Text Box 12"/>
          <p:cNvSpPr txBox="1">
            <a:spLocks noChangeArrowheads="1"/>
          </p:cNvSpPr>
          <p:nvPr/>
        </p:nvSpPr>
        <p:spPr bwMode="gray">
          <a:xfrm>
            <a:off x="8547837" y="5645562"/>
            <a:ext cx="3157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122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800">
                <a:solidFill>
                  <a:srgbClr val="FFFFFF"/>
                </a:solidFill>
                <a:latin typeface="+mn-lt"/>
                <a:cs typeface="Arial" charset="0"/>
              </a:rPr>
              <a:t>Zeit</a:t>
            </a:r>
          </a:p>
        </p:txBody>
      </p:sp>
      <p:sp>
        <p:nvSpPr>
          <p:cNvPr id="571399" name="Freeform 5"/>
          <p:cNvSpPr>
            <a:spLocks/>
          </p:cNvSpPr>
          <p:nvPr/>
        </p:nvSpPr>
        <p:spPr bwMode="gray">
          <a:xfrm rot="657895">
            <a:off x="7174889" y="1454155"/>
            <a:ext cx="2730423" cy="2182813"/>
          </a:xfrm>
          <a:custGeom>
            <a:avLst/>
            <a:gdLst>
              <a:gd name="T0" fmla="*/ 2147483647 w 2882"/>
              <a:gd name="T1" fmla="*/ 0 h 2437"/>
              <a:gd name="T2" fmla="*/ 2147483647 w 2882"/>
              <a:gd name="T3" fmla="*/ 2147483647 h 2437"/>
              <a:gd name="T4" fmla="*/ 2147483647 w 2882"/>
              <a:gd name="T5" fmla="*/ 2147483647 h 2437"/>
              <a:gd name="T6" fmla="*/ 2147483647 w 2882"/>
              <a:gd name="T7" fmla="*/ 2147483647 h 2437"/>
              <a:gd name="T8" fmla="*/ 2147483647 w 2882"/>
              <a:gd name="T9" fmla="*/ 2147483647 h 2437"/>
              <a:gd name="T10" fmla="*/ 2147483647 w 2882"/>
              <a:gd name="T11" fmla="*/ 2147483647 h 2437"/>
              <a:gd name="T12" fmla="*/ 2147483647 w 2882"/>
              <a:gd name="T13" fmla="*/ 0 h 24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82"/>
              <a:gd name="T22" fmla="*/ 0 h 2437"/>
              <a:gd name="T23" fmla="*/ 2882 w 2882"/>
              <a:gd name="T24" fmla="*/ 2437 h 24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82" h="2437">
                <a:moveTo>
                  <a:pt x="1933" y="0"/>
                </a:moveTo>
                <a:lnTo>
                  <a:pt x="2882" y="444"/>
                </a:lnTo>
                <a:lnTo>
                  <a:pt x="2795" y="1332"/>
                </a:lnTo>
                <a:lnTo>
                  <a:pt x="2576" y="1014"/>
                </a:lnTo>
                <a:cubicBezTo>
                  <a:pt x="1477" y="1114"/>
                  <a:pt x="906" y="1668"/>
                  <a:pt x="245" y="2437"/>
                </a:cubicBezTo>
                <a:cubicBezTo>
                  <a:pt x="245" y="2437"/>
                  <a:pt x="0" y="1085"/>
                  <a:pt x="2126" y="333"/>
                </a:cubicBezTo>
                <a:cubicBezTo>
                  <a:pt x="2027" y="165"/>
                  <a:pt x="1933" y="0"/>
                  <a:pt x="1933" y="0"/>
                </a:cubicBezTo>
                <a:close/>
              </a:path>
            </a:pathLst>
          </a:custGeom>
          <a:solidFill>
            <a:srgbClr val="335182"/>
          </a:solidFill>
          <a:ln>
            <a:noFill/>
          </a:ln>
        </p:spPr>
        <p:txBody>
          <a:bodyPr wrap="none" lIns="82845" tIns="41422" rIns="82845" bIns="41422" anchor="ctr"/>
          <a:lstStyle/>
          <a:p>
            <a:pPr defTabSz="827088"/>
            <a:endParaRPr lang="en-GB" sz="1600">
              <a:solidFill>
                <a:srgbClr val="FFFFFF"/>
              </a:solidFill>
            </a:endParaRPr>
          </a:p>
        </p:txBody>
      </p:sp>
      <p:sp>
        <p:nvSpPr>
          <p:cNvPr id="571400" name="Freeform 6"/>
          <p:cNvSpPr>
            <a:spLocks/>
          </p:cNvSpPr>
          <p:nvPr/>
        </p:nvSpPr>
        <p:spPr bwMode="gray">
          <a:xfrm rot="657895">
            <a:off x="4477927" y="2430463"/>
            <a:ext cx="2792325" cy="2184400"/>
          </a:xfrm>
          <a:custGeom>
            <a:avLst/>
            <a:gdLst>
              <a:gd name="T0" fmla="*/ 2147483647 w 2882"/>
              <a:gd name="T1" fmla="*/ 0 h 2437"/>
              <a:gd name="T2" fmla="*/ 2147483647 w 2882"/>
              <a:gd name="T3" fmla="*/ 2147483647 h 2437"/>
              <a:gd name="T4" fmla="*/ 2147483647 w 2882"/>
              <a:gd name="T5" fmla="*/ 2147483647 h 2437"/>
              <a:gd name="T6" fmla="*/ 2147483647 w 2882"/>
              <a:gd name="T7" fmla="*/ 2147483647 h 2437"/>
              <a:gd name="T8" fmla="*/ 2147483647 w 2882"/>
              <a:gd name="T9" fmla="*/ 2147483647 h 2437"/>
              <a:gd name="T10" fmla="*/ 2147483647 w 2882"/>
              <a:gd name="T11" fmla="*/ 2147483647 h 2437"/>
              <a:gd name="T12" fmla="*/ 2147483647 w 2882"/>
              <a:gd name="T13" fmla="*/ 0 h 24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82"/>
              <a:gd name="T22" fmla="*/ 0 h 2437"/>
              <a:gd name="T23" fmla="*/ 2882 w 2882"/>
              <a:gd name="T24" fmla="*/ 2437 h 24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82" h="2437">
                <a:moveTo>
                  <a:pt x="1933" y="0"/>
                </a:moveTo>
                <a:lnTo>
                  <a:pt x="2882" y="444"/>
                </a:lnTo>
                <a:lnTo>
                  <a:pt x="2795" y="1332"/>
                </a:lnTo>
                <a:lnTo>
                  <a:pt x="2576" y="1014"/>
                </a:lnTo>
                <a:cubicBezTo>
                  <a:pt x="1477" y="1114"/>
                  <a:pt x="906" y="1668"/>
                  <a:pt x="245" y="2437"/>
                </a:cubicBezTo>
                <a:cubicBezTo>
                  <a:pt x="245" y="2437"/>
                  <a:pt x="0" y="1085"/>
                  <a:pt x="2126" y="333"/>
                </a:cubicBezTo>
                <a:cubicBezTo>
                  <a:pt x="2027" y="165"/>
                  <a:pt x="1933" y="0"/>
                  <a:pt x="1933" y="0"/>
                </a:cubicBezTo>
                <a:close/>
              </a:path>
            </a:pathLst>
          </a:custGeom>
          <a:solidFill>
            <a:srgbClr val="335182"/>
          </a:solidFill>
          <a:ln>
            <a:noFill/>
          </a:ln>
        </p:spPr>
        <p:txBody>
          <a:bodyPr wrap="none" lIns="82845" tIns="41422" rIns="82845" bIns="41422" anchor="ctr"/>
          <a:lstStyle/>
          <a:p>
            <a:pPr defTabSz="827088"/>
            <a:endParaRPr lang="en-GB" sz="1600">
              <a:solidFill>
                <a:srgbClr val="FFFFFF"/>
              </a:solidFill>
            </a:endParaRPr>
          </a:p>
        </p:txBody>
      </p:sp>
      <p:sp>
        <p:nvSpPr>
          <p:cNvPr id="571407" name="Text Box 14"/>
          <p:cNvSpPr txBox="1">
            <a:spLocks noChangeArrowheads="1"/>
          </p:cNvSpPr>
          <p:nvPr/>
        </p:nvSpPr>
        <p:spPr bwMode="gray">
          <a:xfrm>
            <a:off x="3721568" y="3978687"/>
            <a:ext cx="3382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122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800">
                <a:solidFill>
                  <a:srgbClr val="FFFFFF"/>
                </a:solidFill>
                <a:latin typeface="+mn-lt"/>
                <a:cs typeface="Arial" charset="0"/>
              </a:rPr>
              <a:t>Sub</a:t>
            </a:r>
          </a:p>
        </p:txBody>
      </p:sp>
      <p:sp>
        <p:nvSpPr>
          <p:cNvPr id="571408" name="Text Box 15"/>
          <p:cNvSpPr txBox="1">
            <a:spLocks noChangeArrowheads="1"/>
          </p:cNvSpPr>
          <p:nvPr/>
        </p:nvSpPr>
        <p:spPr bwMode="gray">
          <a:xfrm>
            <a:off x="5732578" y="3191287"/>
            <a:ext cx="3382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122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800" dirty="0">
                <a:solidFill>
                  <a:srgbClr val="FFFFFF"/>
                </a:solidFill>
                <a:latin typeface="+mn-lt"/>
                <a:cs typeface="Arial" charset="0"/>
              </a:rPr>
              <a:t>Sub</a:t>
            </a:r>
          </a:p>
        </p:txBody>
      </p:sp>
      <p:sp>
        <p:nvSpPr>
          <p:cNvPr id="571409" name="Text Box 16"/>
          <p:cNvSpPr txBox="1">
            <a:spLocks noChangeArrowheads="1"/>
          </p:cNvSpPr>
          <p:nvPr/>
        </p:nvSpPr>
        <p:spPr bwMode="gray">
          <a:xfrm>
            <a:off x="8595173" y="2135600"/>
            <a:ext cx="3382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1225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800" dirty="0">
                <a:solidFill>
                  <a:srgbClr val="FFFFFF"/>
                </a:solidFill>
                <a:latin typeface="+mn-lt"/>
                <a:cs typeface="Arial" charset="0"/>
              </a:rPr>
              <a:t>Sub</a:t>
            </a:r>
          </a:p>
        </p:txBody>
      </p:sp>
      <p:sp>
        <p:nvSpPr>
          <p:cNvPr id="33" name="Text Placeholder 7"/>
          <p:cNvSpPr txBox="1">
            <a:spLocks/>
          </p:cNvSpPr>
          <p:nvPr/>
        </p:nvSpPr>
        <p:spPr>
          <a:xfrm>
            <a:off x="2486515" y="4860490"/>
            <a:ext cx="2068373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4" name="Text Placeholder 7"/>
          <p:cNvSpPr txBox="1">
            <a:spLocks/>
          </p:cNvSpPr>
          <p:nvPr/>
        </p:nvSpPr>
        <p:spPr>
          <a:xfrm>
            <a:off x="4827995" y="4171955"/>
            <a:ext cx="2295024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5" name="Text Placeholder 7"/>
          <p:cNvSpPr txBox="1">
            <a:spLocks/>
          </p:cNvSpPr>
          <p:nvPr/>
        </p:nvSpPr>
        <p:spPr>
          <a:xfrm>
            <a:off x="7513059" y="3235211"/>
            <a:ext cx="2295024" cy="589117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6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255342228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041195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Opportunities and risk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4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5" name="Text Placeholder 7"/>
          <p:cNvSpPr txBox="1">
            <a:spLocks/>
          </p:cNvSpPr>
          <p:nvPr/>
        </p:nvSpPr>
        <p:spPr>
          <a:xfrm rot="5400000">
            <a:off x="8046000" y="-378000"/>
            <a:ext cx="576000" cy="4140000"/>
          </a:xfrm>
          <a:prstGeom prst="homePlate">
            <a:avLst>
              <a:gd name="adj" fmla="val 32097"/>
            </a:avLst>
          </a:prstGeom>
          <a:solidFill>
            <a:srgbClr val="68ACE5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 err="1">
                <a:solidFill>
                  <a:schemeClr val="bg1"/>
                </a:solidFill>
              </a:rPr>
              <a:t>Risk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2" name="Text Placeholder 7"/>
          <p:cNvSpPr txBox="1">
            <a:spLocks/>
          </p:cNvSpPr>
          <p:nvPr/>
        </p:nvSpPr>
        <p:spPr>
          <a:xfrm>
            <a:off x="1764000" y="1404000"/>
            <a:ext cx="4140000" cy="388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3" name="Text Placeholder 7"/>
          <p:cNvSpPr txBox="1">
            <a:spLocks/>
          </p:cNvSpPr>
          <p:nvPr/>
        </p:nvSpPr>
        <p:spPr>
          <a:xfrm>
            <a:off x="6264000" y="2016000"/>
            <a:ext cx="4140000" cy="388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21" name="Text Placeholder 7"/>
          <p:cNvSpPr txBox="1">
            <a:spLocks/>
          </p:cNvSpPr>
          <p:nvPr/>
        </p:nvSpPr>
        <p:spPr>
          <a:xfrm rot="16200000" flipV="1">
            <a:off x="3545707" y="3545706"/>
            <a:ext cx="576587" cy="4140000"/>
          </a:xfrm>
          <a:prstGeom prst="homePlate">
            <a:avLst>
              <a:gd name="adj" fmla="val 32097"/>
            </a:avLst>
          </a:prstGeom>
          <a:solidFill>
            <a:srgbClr val="002663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>
                <a:solidFill>
                  <a:schemeClr val="bg1"/>
                </a:solidFill>
              </a:rPr>
              <a:t>Opportunities</a:t>
            </a:r>
          </a:p>
        </p:txBody>
      </p:sp>
      <p:sp>
        <p:nvSpPr>
          <p:cNvPr id="16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428063392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333681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946" name="Rectangle 2"/>
          <p:cNvSpPr>
            <a:spLocks noGrp="1" noChangeArrowheads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Gear</a:t>
            </a:r>
            <a:r>
              <a:rPr lang="de-DE" dirty="0"/>
              <a:t> </a:t>
            </a:r>
            <a:r>
              <a:rPr lang="de-DE" dirty="0" err="1"/>
              <a:t>wheels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14" name="Freeform 13"/>
          <p:cNvSpPr>
            <a:spLocks/>
          </p:cNvSpPr>
          <p:nvPr/>
        </p:nvSpPr>
        <p:spPr bwMode="gray">
          <a:xfrm>
            <a:off x="2938463" y="3797945"/>
            <a:ext cx="1758950" cy="1770063"/>
          </a:xfrm>
          <a:custGeom>
            <a:avLst/>
            <a:gdLst>
              <a:gd name="T0" fmla="*/ 2147483647 w 1108"/>
              <a:gd name="T1" fmla="*/ 2147483647 h 1115"/>
              <a:gd name="T2" fmla="*/ 2147483647 w 1108"/>
              <a:gd name="T3" fmla="*/ 2147483647 h 1115"/>
              <a:gd name="T4" fmla="*/ 2147483647 w 1108"/>
              <a:gd name="T5" fmla="*/ 2147483647 h 1115"/>
              <a:gd name="T6" fmla="*/ 2147483647 w 1108"/>
              <a:gd name="T7" fmla="*/ 2147483647 h 1115"/>
              <a:gd name="T8" fmla="*/ 2147483647 w 1108"/>
              <a:gd name="T9" fmla="*/ 2147483647 h 1115"/>
              <a:gd name="T10" fmla="*/ 2147483647 w 1108"/>
              <a:gd name="T11" fmla="*/ 2147483647 h 1115"/>
              <a:gd name="T12" fmla="*/ 2147483647 w 1108"/>
              <a:gd name="T13" fmla="*/ 2147483647 h 1115"/>
              <a:gd name="T14" fmla="*/ 2147483647 w 1108"/>
              <a:gd name="T15" fmla="*/ 2147483647 h 1115"/>
              <a:gd name="T16" fmla="*/ 2147483647 w 1108"/>
              <a:gd name="T17" fmla="*/ 2147483647 h 1115"/>
              <a:gd name="T18" fmla="*/ 2147483647 w 1108"/>
              <a:gd name="T19" fmla="*/ 2147483647 h 1115"/>
              <a:gd name="T20" fmla="*/ 2147483647 w 1108"/>
              <a:gd name="T21" fmla="*/ 2147483647 h 1115"/>
              <a:gd name="T22" fmla="*/ 2147483647 w 1108"/>
              <a:gd name="T23" fmla="*/ 2147483647 h 1115"/>
              <a:gd name="T24" fmla="*/ 2147483647 w 1108"/>
              <a:gd name="T25" fmla="*/ 2147483647 h 1115"/>
              <a:gd name="T26" fmla="*/ 2147483647 w 1108"/>
              <a:gd name="T27" fmla="*/ 2147483647 h 1115"/>
              <a:gd name="T28" fmla="*/ 2147483647 w 1108"/>
              <a:gd name="T29" fmla="*/ 2147483647 h 1115"/>
              <a:gd name="T30" fmla="*/ 2147483647 w 1108"/>
              <a:gd name="T31" fmla="*/ 2147483647 h 1115"/>
              <a:gd name="T32" fmla="*/ 2147483647 w 1108"/>
              <a:gd name="T33" fmla="*/ 2147483647 h 1115"/>
              <a:gd name="T34" fmla="*/ 2147483647 w 1108"/>
              <a:gd name="T35" fmla="*/ 2147483647 h 1115"/>
              <a:gd name="T36" fmla="*/ 2147483647 w 1108"/>
              <a:gd name="T37" fmla="*/ 2147483647 h 1115"/>
              <a:gd name="T38" fmla="*/ 2147483647 w 1108"/>
              <a:gd name="T39" fmla="*/ 2147483647 h 1115"/>
              <a:gd name="T40" fmla="*/ 2147483647 w 1108"/>
              <a:gd name="T41" fmla="*/ 2147483647 h 1115"/>
              <a:gd name="T42" fmla="*/ 2147483647 w 1108"/>
              <a:gd name="T43" fmla="*/ 2147483647 h 1115"/>
              <a:gd name="T44" fmla="*/ 2147483647 w 1108"/>
              <a:gd name="T45" fmla="*/ 2147483647 h 1115"/>
              <a:gd name="T46" fmla="*/ 2147483647 w 1108"/>
              <a:gd name="T47" fmla="*/ 2147483647 h 1115"/>
              <a:gd name="T48" fmla="*/ 2147483647 w 1108"/>
              <a:gd name="T49" fmla="*/ 2147483647 h 1115"/>
              <a:gd name="T50" fmla="*/ 2147483647 w 1108"/>
              <a:gd name="T51" fmla="*/ 2147483647 h 1115"/>
              <a:gd name="T52" fmla="*/ 2147483647 w 1108"/>
              <a:gd name="T53" fmla="*/ 2147483647 h 1115"/>
              <a:gd name="T54" fmla="*/ 2147483647 w 1108"/>
              <a:gd name="T55" fmla="*/ 2147483647 h 1115"/>
              <a:gd name="T56" fmla="*/ 2147483647 w 1108"/>
              <a:gd name="T57" fmla="*/ 2147483647 h 1115"/>
              <a:gd name="T58" fmla="*/ 2147483647 w 1108"/>
              <a:gd name="T59" fmla="*/ 2147483647 h 1115"/>
              <a:gd name="T60" fmla="*/ 2147483647 w 1108"/>
              <a:gd name="T61" fmla="*/ 2147483647 h 1115"/>
              <a:gd name="T62" fmla="*/ 2147483647 w 1108"/>
              <a:gd name="T63" fmla="*/ 2147483647 h 1115"/>
              <a:gd name="T64" fmla="*/ 2147483647 w 1108"/>
              <a:gd name="T65" fmla="*/ 2147483647 h 1115"/>
              <a:gd name="T66" fmla="*/ 2147483647 w 1108"/>
              <a:gd name="T67" fmla="*/ 2147483647 h 1115"/>
              <a:gd name="T68" fmla="*/ 2147483647 w 1108"/>
              <a:gd name="T69" fmla="*/ 2147483647 h 1115"/>
              <a:gd name="T70" fmla="*/ 2147483647 w 1108"/>
              <a:gd name="T71" fmla="*/ 2147483647 h 1115"/>
              <a:gd name="T72" fmla="*/ 2147483647 w 1108"/>
              <a:gd name="T73" fmla="*/ 2147483647 h 1115"/>
              <a:gd name="T74" fmla="*/ 2147483647 w 1108"/>
              <a:gd name="T75" fmla="*/ 2147483647 h 1115"/>
              <a:gd name="T76" fmla="*/ 2147483647 w 1108"/>
              <a:gd name="T77" fmla="*/ 2147483647 h 1115"/>
              <a:gd name="T78" fmla="*/ 2147483647 w 1108"/>
              <a:gd name="T79" fmla="*/ 0 h 111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108"/>
              <a:gd name="T121" fmla="*/ 0 h 1115"/>
              <a:gd name="T122" fmla="*/ 1108 w 1108"/>
              <a:gd name="T123" fmla="*/ 1115 h 111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108" h="1115">
                <a:moveTo>
                  <a:pt x="580" y="65"/>
                </a:moveTo>
                <a:lnTo>
                  <a:pt x="531" y="66"/>
                </a:lnTo>
                <a:lnTo>
                  <a:pt x="483" y="0"/>
                </a:lnTo>
                <a:lnTo>
                  <a:pt x="447" y="6"/>
                </a:lnTo>
                <a:lnTo>
                  <a:pt x="427" y="78"/>
                </a:lnTo>
                <a:lnTo>
                  <a:pt x="378" y="95"/>
                </a:lnTo>
                <a:lnTo>
                  <a:pt x="316" y="48"/>
                </a:lnTo>
                <a:lnTo>
                  <a:pt x="285" y="66"/>
                </a:lnTo>
                <a:lnTo>
                  <a:pt x="285" y="141"/>
                </a:lnTo>
                <a:lnTo>
                  <a:pt x="244" y="173"/>
                </a:lnTo>
                <a:lnTo>
                  <a:pt x="172" y="149"/>
                </a:lnTo>
                <a:lnTo>
                  <a:pt x="147" y="173"/>
                </a:lnTo>
                <a:lnTo>
                  <a:pt x="171" y="245"/>
                </a:lnTo>
                <a:lnTo>
                  <a:pt x="141" y="288"/>
                </a:lnTo>
                <a:lnTo>
                  <a:pt x="66" y="288"/>
                </a:lnTo>
                <a:lnTo>
                  <a:pt x="49" y="320"/>
                </a:lnTo>
                <a:lnTo>
                  <a:pt x="93" y="377"/>
                </a:lnTo>
                <a:lnTo>
                  <a:pt x="78" y="429"/>
                </a:lnTo>
                <a:lnTo>
                  <a:pt x="7" y="452"/>
                </a:lnTo>
                <a:lnTo>
                  <a:pt x="1" y="485"/>
                </a:lnTo>
                <a:lnTo>
                  <a:pt x="61" y="531"/>
                </a:lnTo>
                <a:lnTo>
                  <a:pt x="61" y="582"/>
                </a:lnTo>
                <a:lnTo>
                  <a:pt x="0" y="627"/>
                </a:lnTo>
                <a:lnTo>
                  <a:pt x="6" y="662"/>
                </a:lnTo>
                <a:lnTo>
                  <a:pt x="78" y="684"/>
                </a:lnTo>
                <a:lnTo>
                  <a:pt x="93" y="734"/>
                </a:lnTo>
                <a:lnTo>
                  <a:pt x="51" y="795"/>
                </a:lnTo>
                <a:lnTo>
                  <a:pt x="64" y="827"/>
                </a:lnTo>
                <a:lnTo>
                  <a:pt x="138" y="825"/>
                </a:lnTo>
                <a:lnTo>
                  <a:pt x="171" y="866"/>
                </a:lnTo>
                <a:lnTo>
                  <a:pt x="147" y="941"/>
                </a:lnTo>
                <a:lnTo>
                  <a:pt x="172" y="966"/>
                </a:lnTo>
                <a:lnTo>
                  <a:pt x="243" y="942"/>
                </a:lnTo>
                <a:lnTo>
                  <a:pt x="282" y="971"/>
                </a:lnTo>
                <a:lnTo>
                  <a:pt x="283" y="1050"/>
                </a:lnTo>
                <a:lnTo>
                  <a:pt x="315" y="1067"/>
                </a:lnTo>
                <a:lnTo>
                  <a:pt x="376" y="1019"/>
                </a:lnTo>
                <a:lnTo>
                  <a:pt x="429" y="1037"/>
                </a:lnTo>
                <a:lnTo>
                  <a:pt x="447" y="1109"/>
                </a:lnTo>
                <a:lnTo>
                  <a:pt x="484" y="1115"/>
                </a:lnTo>
                <a:lnTo>
                  <a:pt x="528" y="1052"/>
                </a:lnTo>
                <a:lnTo>
                  <a:pt x="579" y="1052"/>
                </a:lnTo>
                <a:lnTo>
                  <a:pt x="621" y="1113"/>
                </a:lnTo>
                <a:lnTo>
                  <a:pt x="658" y="1107"/>
                </a:lnTo>
                <a:lnTo>
                  <a:pt x="678" y="1037"/>
                </a:lnTo>
                <a:lnTo>
                  <a:pt x="729" y="1020"/>
                </a:lnTo>
                <a:lnTo>
                  <a:pt x="790" y="1065"/>
                </a:lnTo>
                <a:lnTo>
                  <a:pt x="822" y="1050"/>
                </a:lnTo>
                <a:lnTo>
                  <a:pt x="822" y="972"/>
                </a:lnTo>
                <a:lnTo>
                  <a:pt x="864" y="941"/>
                </a:lnTo>
                <a:lnTo>
                  <a:pt x="937" y="965"/>
                </a:lnTo>
                <a:lnTo>
                  <a:pt x="960" y="942"/>
                </a:lnTo>
                <a:lnTo>
                  <a:pt x="936" y="869"/>
                </a:lnTo>
                <a:lnTo>
                  <a:pt x="967" y="827"/>
                </a:lnTo>
                <a:lnTo>
                  <a:pt x="1041" y="828"/>
                </a:lnTo>
                <a:lnTo>
                  <a:pt x="1057" y="795"/>
                </a:lnTo>
                <a:lnTo>
                  <a:pt x="1012" y="735"/>
                </a:lnTo>
                <a:lnTo>
                  <a:pt x="1029" y="686"/>
                </a:lnTo>
                <a:lnTo>
                  <a:pt x="1099" y="663"/>
                </a:lnTo>
                <a:lnTo>
                  <a:pt x="1108" y="626"/>
                </a:lnTo>
                <a:lnTo>
                  <a:pt x="1044" y="584"/>
                </a:lnTo>
                <a:lnTo>
                  <a:pt x="1044" y="530"/>
                </a:lnTo>
                <a:lnTo>
                  <a:pt x="1107" y="486"/>
                </a:lnTo>
                <a:lnTo>
                  <a:pt x="1099" y="450"/>
                </a:lnTo>
                <a:lnTo>
                  <a:pt x="1029" y="429"/>
                </a:lnTo>
                <a:lnTo>
                  <a:pt x="1011" y="378"/>
                </a:lnTo>
                <a:lnTo>
                  <a:pt x="1056" y="317"/>
                </a:lnTo>
                <a:lnTo>
                  <a:pt x="1041" y="287"/>
                </a:lnTo>
                <a:lnTo>
                  <a:pt x="964" y="287"/>
                </a:lnTo>
                <a:lnTo>
                  <a:pt x="934" y="245"/>
                </a:lnTo>
                <a:lnTo>
                  <a:pt x="958" y="173"/>
                </a:lnTo>
                <a:lnTo>
                  <a:pt x="933" y="147"/>
                </a:lnTo>
                <a:lnTo>
                  <a:pt x="864" y="171"/>
                </a:lnTo>
                <a:lnTo>
                  <a:pt x="822" y="143"/>
                </a:lnTo>
                <a:lnTo>
                  <a:pt x="820" y="66"/>
                </a:lnTo>
                <a:lnTo>
                  <a:pt x="790" y="51"/>
                </a:lnTo>
                <a:lnTo>
                  <a:pt x="730" y="93"/>
                </a:lnTo>
                <a:lnTo>
                  <a:pt x="681" y="80"/>
                </a:lnTo>
                <a:lnTo>
                  <a:pt x="657" y="5"/>
                </a:lnTo>
                <a:lnTo>
                  <a:pt x="624" y="0"/>
                </a:lnTo>
                <a:lnTo>
                  <a:pt x="580" y="65"/>
                </a:lnTo>
                <a:close/>
              </a:path>
            </a:pathLst>
          </a:custGeom>
          <a:solidFill>
            <a:srgbClr val="3351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en-GB" dirty="0"/>
          </a:p>
        </p:txBody>
      </p:sp>
      <p:sp>
        <p:nvSpPr>
          <p:cNvPr id="23" name="Oval 14"/>
          <p:cNvSpPr>
            <a:spLocks noChangeArrowheads="1"/>
          </p:cNvSpPr>
          <p:nvPr/>
        </p:nvSpPr>
        <p:spPr bwMode="gray">
          <a:xfrm>
            <a:off x="3248025" y="4113858"/>
            <a:ext cx="1133475" cy="1133475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/>
            <a:endParaRPr lang="de-DE"/>
          </a:p>
        </p:txBody>
      </p:sp>
      <p:grpSp>
        <p:nvGrpSpPr>
          <p:cNvPr id="4" name="Gruppieren 3"/>
          <p:cNvGrpSpPr/>
          <p:nvPr/>
        </p:nvGrpSpPr>
        <p:grpSpPr>
          <a:xfrm>
            <a:off x="4616455" y="3759840"/>
            <a:ext cx="1128713" cy="1136650"/>
            <a:chOff x="3092450" y="3759840"/>
            <a:chExt cx="1128713" cy="1136650"/>
          </a:xfrm>
        </p:grpSpPr>
        <p:sp>
          <p:nvSpPr>
            <p:cNvPr id="24" name="Freeform 15"/>
            <p:cNvSpPr>
              <a:spLocks/>
            </p:cNvSpPr>
            <p:nvPr/>
          </p:nvSpPr>
          <p:spPr bwMode="gray">
            <a:xfrm>
              <a:off x="3092450" y="3759840"/>
              <a:ext cx="1128713" cy="1136650"/>
            </a:xfrm>
            <a:custGeom>
              <a:avLst/>
              <a:gdLst>
                <a:gd name="T0" fmla="*/ 2147483647 w 711"/>
                <a:gd name="T1" fmla="*/ 2147483647 h 716"/>
                <a:gd name="T2" fmla="*/ 2147483647 w 711"/>
                <a:gd name="T3" fmla="*/ 2147483647 h 716"/>
                <a:gd name="T4" fmla="*/ 2147483647 w 711"/>
                <a:gd name="T5" fmla="*/ 2147483647 h 716"/>
                <a:gd name="T6" fmla="*/ 2147483647 w 711"/>
                <a:gd name="T7" fmla="*/ 2147483647 h 716"/>
                <a:gd name="T8" fmla="*/ 2147483647 w 711"/>
                <a:gd name="T9" fmla="*/ 2147483647 h 716"/>
                <a:gd name="T10" fmla="*/ 2147483647 w 711"/>
                <a:gd name="T11" fmla="*/ 2147483647 h 716"/>
                <a:gd name="T12" fmla="*/ 2147483647 w 711"/>
                <a:gd name="T13" fmla="*/ 2147483647 h 716"/>
                <a:gd name="T14" fmla="*/ 2147483647 w 711"/>
                <a:gd name="T15" fmla="*/ 2147483647 h 716"/>
                <a:gd name="T16" fmla="*/ 2147483647 w 711"/>
                <a:gd name="T17" fmla="*/ 2147483647 h 716"/>
                <a:gd name="T18" fmla="*/ 2147483647 w 711"/>
                <a:gd name="T19" fmla="*/ 2147483647 h 716"/>
                <a:gd name="T20" fmla="*/ 2147483647 w 711"/>
                <a:gd name="T21" fmla="*/ 2147483647 h 716"/>
                <a:gd name="T22" fmla="*/ 0 w 711"/>
                <a:gd name="T23" fmla="*/ 2147483647 h 716"/>
                <a:gd name="T24" fmla="*/ 2147483647 w 711"/>
                <a:gd name="T25" fmla="*/ 2147483647 h 716"/>
                <a:gd name="T26" fmla="*/ 2147483647 w 711"/>
                <a:gd name="T27" fmla="*/ 2147483647 h 716"/>
                <a:gd name="T28" fmla="*/ 2147483647 w 711"/>
                <a:gd name="T29" fmla="*/ 2147483647 h 716"/>
                <a:gd name="T30" fmla="*/ 2147483647 w 711"/>
                <a:gd name="T31" fmla="*/ 2147483647 h 716"/>
                <a:gd name="T32" fmla="*/ 2147483647 w 711"/>
                <a:gd name="T33" fmla="*/ 2147483647 h 716"/>
                <a:gd name="T34" fmla="*/ 2147483647 w 711"/>
                <a:gd name="T35" fmla="*/ 2147483647 h 716"/>
                <a:gd name="T36" fmla="*/ 2147483647 w 711"/>
                <a:gd name="T37" fmla="*/ 2147483647 h 716"/>
                <a:gd name="T38" fmla="*/ 2147483647 w 711"/>
                <a:gd name="T39" fmla="*/ 2147483647 h 716"/>
                <a:gd name="T40" fmla="*/ 2147483647 w 711"/>
                <a:gd name="T41" fmla="*/ 2147483647 h 716"/>
                <a:gd name="T42" fmla="*/ 2147483647 w 711"/>
                <a:gd name="T43" fmla="*/ 2147483647 h 716"/>
                <a:gd name="T44" fmla="*/ 2147483647 w 711"/>
                <a:gd name="T45" fmla="*/ 2147483647 h 716"/>
                <a:gd name="T46" fmla="*/ 2147483647 w 711"/>
                <a:gd name="T47" fmla="*/ 2147483647 h 716"/>
                <a:gd name="T48" fmla="*/ 2147483647 w 711"/>
                <a:gd name="T49" fmla="*/ 2147483647 h 716"/>
                <a:gd name="T50" fmla="*/ 2147483647 w 711"/>
                <a:gd name="T51" fmla="*/ 2147483647 h 716"/>
                <a:gd name="T52" fmla="*/ 2147483647 w 711"/>
                <a:gd name="T53" fmla="*/ 2147483647 h 716"/>
                <a:gd name="T54" fmla="*/ 2147483647 w 711"/>
                <a:gd name="T55" fmla="*/ 2147483647 h 716"/>
                <a:gd name="T56" fmla="*/ 2147483647 w 711"/>
                <a:gd name="T57" fmla="*/ 2147483647 h 716"/>
                <a:gd name="T58" fmla="*/ 2147483647 w 711"/>
                <a:gd name="T59" fmla="*/ 2147483647 h 716"/>
                <a:gd name="T60" fmla="*/ 2147483647 w 711"/>
                <a:gd name="T61" fmla="*/ 2147483647 h 716"/>
                <a:gd name="T62" fmla="*/ 2147483647 w 711"/>
                <a:gd name="T63" fmla="*/ 2147483647 h 716"/>
                <a:gd name="T64" fmla="*/ 2147483647 w 711"/>
                <a:gd name="T65" fmla="*/ 2147483647 h 716"/>
                <a:gd name="T66" fmla="*/ 2147483647 w 711"/>
                <a:gd name="T67" fmla="*/ 2147483647 h 716"/>
                <a:gd name="T68" fmla="*/ 2147483647 w 711"/>
                <a:gd name="T69" fmla="*/ 2147483647 h 716"/>
                <a:gd name="T70" fmla="*/ 2147483647 w 711"/>
                <a:gd name="T71" fmla="*/ 2147483647 h 716"/>
                <a:gd name="T72" fmla="*/ 2147483647 w 711"/>
                <a:gd name="T73" fmla="*/ 2147483647 h 716"/>
                <a:gd name="T74" fmla="*/ 2147483647 w 711"/>
                <a:gd name="T75" fmla="*/ 2147483647 h 716"/>
                <a:gd name="T76" fmla="*/ 2147483647 w 711"/>
                <a:gd name="T77" fmla="*/ 2147483647 h 716"/>
                <a:gd name="T78" fmla="*/ 2147483647 w 711"/>
                <a:gd name="T79" fmla="*/ 2147483647 h 716"/>
                <a:gd name="T80" fmla="*/ 2147483647 w 711"/>
                <a:gd name="T81" fmla="*/ 2147483647 h 716"/>
                <a:gd name="T82" fmla="*/ 2147483647 w 711"/>
                <a:gd name="T83" fmla="*/ 2147483647 h 716"/>
                <a:gd name="T84" fmla="*/ 2147483647 w 711"/>
                <a:gd name="T85" fmla="*/ 2147483647 h 716"/>
                <a:gd name="T86" fmla="*/ 2147483647 w 711"/>
                <a:gd name="T87" fmla="*/ 2147483647 h 716"/>
                <a:gd name="T88" fmla="*/ 2147483647 w 711"/>
                <a:gd name="T89" fmla="*/ 2147483647 h 716"/>
                <a:gd name="T90" fmla="*/ 2147483647 w 711"/>
                <a:gd name="T91" fmla="*/ 2147483647 h 716"/>
                <a:gd name="T92" fmla="*/ 2147483647 w 711"/>
                <a:gd name="T93" fmla="*/ 2147483647 h 716"/>
                <a:gd name="T94" fmla="*/ 2147483647 w 711"/>
                <a:gd name="T95" fmla="*/ 0 h 716"/>
                <a:gd name="T96" fmla="*/ 2147483647 w 711"/>
                <a:gd name="T97" fmla="*/ 2147483647 h 71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11"/>
                <a:gd name="T148" fmla="*/ 0 h 716"/>
                <a:gd name="T149" fmla="*/ 711 w 711"/>
                <a:gd name="T150" fmla="*/ 716 h 71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11" h="716">
                  <a:moveTo>
                    <a:pt x="291" y="6"/>
                  </a:moveTo>
                  <a:lnTo>
                    <a:pt x="276" y="83"/>
                  </a:lnTo>
                  <a:lnTo>
                    <a:pt x="222" y="105"/>
                  </a:lnTo>
                  <a:lnTo>
                    <a:pt x="152" y="62"/>
                  </a:lnTo>
                  <a:lnTo>
                    <a:pt x="123" y="86"/>
                  </a:lnTo>
                  <a:lnTo>
                    <a:pt x="147" y="164"/>
                  </a:lnTo>
                  <a:lnTo>
                    <a:pt x="111" y="210"/>
                  </a:lnTo>
                  <a:lnTo>
                    <a:pt x="33" y="206"/>
                  </a:lnTo>
                  <a:lnTo>
                    <a:pt x="20" y="242"/>
                  </a:lnTo>
                  <a:lnTo>
                    <a:pt x="78" y="297"/>
                  </a:lnTo>
                  <a:lnTo>
                    <a:pt x="69" y="350"/>
                  </a:lnTo>
                  <a:lnTo>
                    <a:pt x="0" y="386"/>
                  </a:lnTo>
                  <a:lnTo>
                    <a:pt x="2" y="428"/>
                  </a:lnTo>
                  <a:lnTo>
                    <a:pt x="83" y="444"/>
                  </a:lnTo>
                  <a:lnTo>
                    <a:pt x="104" y="495"/>
                  </a:lnTo>
                  <a:lnTo>
                    <a:pt x="63" y="561"/>
                  </a:lnTo>
                  <a:lnTo>
                    <a:pt x="87" y="594"/>
                  </a:lnTo>
                  <a:lnTo>
                    <a:pt x="164" y="572"/>
                  </a:lnTo>
                  <a:lnTo>
                    <a:pt x="204" y="603"/>
                  </a:lnTo>
                  <a:lnTo>
                    <a:pt x="203" y="680"/>
                  </a:lnTo>
                  <a:lnTo>
                    <a:pt x="245" y="696"/>
                  </a:lnTo>
                  <a:lnTo>
                    <a:pt x="293" y="642"/>
                  </a:lnTo>
                  <a:lnTo>
                    <a:pt x="345" y="648"/>
                  </a:lnTo>
                  <a:lnTo>
                    <a:pt x="383" y="716"/>
                  </a:lnTo>
                  <a:lnTo>
                    <a:pt x="428" y="708"/>
                  </a:lnTo>
                  <a:lnTo>
                    <a:pt x="443" y="635"/>
                  </a:lnTo>
                  <a:lnTo>
                    <a:pt x="495" y="614"/>
                  </a:lnTo>
                  <a:lnTo>
                    <a:pt x="554" y="654"/>
                  </a:lnTo>
                  <a:lnTo>
                    <a:pt x="593" y="624"/>
                  </a:lnTo>
                  <a:lnTo>
                    <a:pt x="569" y="554"/>
                  </a:lnTo>
                  <a:lnTo>
                    <a:pt x="603" y="515"/>
                  </a:lnTo>
                  <a:lnTo>
                    <a:pt x="675" y="516"/>
                  </a:lnTo>
                  <a:lnTo>
                    <a:pt x="693" y="474"/>
                  </a:lnTo>
                  <a:lnTo>
                    <a:pt x="638" y="426"/>
                  </a:lnTo>
                  <a:lnTo>
                    <a:pt x="647" y="371"/>
                  </a:lnTo>
                  <a:lnTo>
                    <a:pt x="711" y="336"/>
                  </a:lnTo>
                  <a:lnTo>
                    <a:pt x="707" y="291"/>
                  </a:lnTo>
                  <a:lnTo>
                    <a:pt x="633" y="275"/>
                  </a:lnTo>
                  <a:lnTo>
                    <a:pt x="614" y="227"/>
                  </a:lnTo>
                  <a:lnTo>
                    <a:pt x="654" y="161"/>
                  </a:lnTo>
                  <a:lnTo>
                    <a:pt x="629" y="126"/>
                  </a:lnTo>
                  <a:lnTo>
                    <a:pt x="554" y="149"/>
                  </a:lnTo>
                  <a:lnTo>
                    <a:pt x="513" y="114"/>
                  </a:lnTo>
                  <a:lnTo>
                    <a:pt x="513" y="36"/>
                  </a:lnTo>
                  <a:lnTo>
                    <a:pt x="477" y="21"/>
                  </a:lnTo>
                  <a:lnTo>
                    <a:pt x="425" y="78"/>
                  </a:lnTo>
                  <a:lnTo>
                    <a:pt x="368" y="72"/>
                  </a:lnTo>
                  <a:lnTo>
                    <a:pt x="332" y="0"/>
                  </a:lnTo>
                  <a:lnTo>
                    <a:pt x="291" y="6"/>
                  </a:lnTo>
                  <a:close/>
                </a:path>
              </a:pathLst>
            </a:custGeom>
            <a:solidFill>
              <a:srgbClr val="335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25" name="Oval 16"/>
            <p:cNvSpPr>
              <a:spLocks noChangeArrowheads="1"/>
            </p:cNvSpPr>
            <p:nvPr/>
          </p:nvSpPr>
          <p:spPr bwMode="gray">
            <a:xfrm>
              <a:off x="3332163" y="4002728"/>
              <a:ext cx="641350" cy="641350"/>
            </a:xfrm>
            <a:prstGeom prst="ellipse">
              <a:avLst/>
            </a:prstGeom>
            <a:solidFill>
              <a:srgbClr val="335182"/>
            </a:solidFill>
            <a:ln w="76200">
              <a:solidFill>
                <a:schemeClr val="bg1"/>
              </a:solidFill>
            </a:ln>
            <a:extLst/>
          </p:spPr>
          <p:txBody>
            <a:bodyPr wrap="none" lIns="0" tIns="0" rIns="0" bIns="0" anchor="ctr"/>
            <a:lstStyle/>
            <a:p>
              <a:pPr algn="ctr"/>
              <a:endParaRPr lang="de-DE"/>
            </a:p>
          </p:txBody>
        </p:sp>
      </p:grpSp>
      <p:sp>
        <p:nvSpPr>
          <p:cNvPr id="26" name="Freeform 17"/>
          <p:cNvSpPr>
            <a:spLocks/>
          </p:cNvSpPr>
          <p:nvPr/>
        </p:nvSpPr>
        <p:spPr bwMode="gray">
          <a:xfrm>
            <a:off x="4510088" y="2056453"/>
            <a:ext cx="1758950" cy="1770062"/>
          </a:xfrm>
          <a:custGeom>
            <a:avLst/>
            <a:gdLst>
              <a:gd name="T0" fmla="*/ 2147483647 w 1108"/>
              <a:gd name="T1" fmla="*/ 2147483647 h 1115"/>
              <a:gd name="T2" fmla="*/ 2147483647 w 1108"/>
              <a:gd name="T3" fmla="*/ 2147483647 h 1115"/>
              <a:gd name="T4" fmla="*/ 2147483647 w 1108"/>
              <a:gd name="T5" fmla="*/ 2147483647 h 1115"/>
              <a:gd name="T6" fmla="*/ 2147483647 w 1108"/>
              <a:gd name="T7" fmla="*/ 2147483647 h 1115"/>
              <a:gd name="T8" fmla="*/ 2147483647 w 1108"/>
              <a:gd name="T9" fmla="*/ 2147483647 h 1115"/>
              <a:gd name="T10" fmla="*/ 2147483647 w 1108"/>
              <a:gd name="T11" fmla="*/ 2147483647 h 1115"/>
              <a:gd name="T12" fmla="*/ 2147483647 w 1108"/>
              <a:gd name="T13" fmla="*/ 2147483647 h 1115"/>
              <a:gd name="T14" fmla="*/ 2147483647 w 1108"/>
              <a:gd name="T15" fmla="*/ 2147483647 h 1115"/>
              <a:gd name="T16" fmla="*/ 2147483647 w 1108"/>
              <a:gd name="T17" fmla="*/ 2147483647 h 1115"/>
              <a:gd name="T18" fmla="*/ 2147483647 w 1108"/>
              <a:gd name="T19" fmla="*/ 2147483647 h 1115"/>
              <a:gd name="T20" fmla="*/ 2147483647 w 1108"/>
              <a:gd name="T21" fmla="*/ 2147483647 h 1115"/>
              <a:gd name="T22" fmla="*/ 2147483647 w 1108"/>
              <a:gd name="T23" fmla="*/ 2147483647 h 1115"/>
              <a:gd name="T24" fmla="*/ 2147483647 w 1108"/>
              <a:gd name="T25" fmla="*/ 2147483647 h 1115"/>
              <a:gd name="T26" fmla="*/ 2147483647 w 1108"/>
              <a:gd name="T27" fmla="*/ 2147483647 h 1115"/>
              <a:gd name="T28" fmla="*/ 2147483647 w 1108"/>
              <a:gd name="T29" fmla="*/ 2147483647 h 1115"/>
              <a:gd name="T30" fmla="*/ 2147483647 w 1108"/>
              <a:gd name="T31" fmla="*/ 2147483647 h 1115"/>
              <a:gd name="T32" fmla="*/ 2147483647 w 1108"/>
              <a:gd name="T33" fmla="*/ 2147483647 h 1115"/>
              <a:gd name="T34" fmla="*/ 2147483647 w 1108"/>
              <a:gd name="T35" fmla="*/ 2147483647 h 1115"/>
              <a:gd name="T36" fmla="*/ 2147483647 w 1108"/>
              <a:gd name="T37" fmla="*/ 2147483647 h 1115"/>
              <a:gd name="T38" fmla="*/ 2147483647 w 1108"/>
              <a:gd name="T39" fmla="*/ 2147483647 h 1115"/>
              <a:gd name="T40" fmla="*/ 2147483647 w 1108"/>
              <a:gd name="T41" fmla="*/ 2147483647 h 1115"/>
              <a:gd name="T42" fmla="*/ 2147483647 w 1108"/>
              <a:gd name="T43" fmla="*/ 2147483647 h 1115"/>
              <a:gd name="T44" fmla="*/ 2147483647 w 1108"/>
              <a:gd name="T45" fmla="*/ 2147483647 h 1115"/>
              <a:gd name="T46" fmla="*/ 2147483647 w 1108"/>
              <a:gd name="T47" fmla="*/ 2147483647 h 1115"/>
              <a:gd name="T48" fmla="*/ 2147483647 w 1108"/>
              <a:gd name="T49" fmla="*/ 2147483647 h 1115"/>
              <a:gd name="T50" fmla="*/ 2147483647 w 1108"/>
              <a:gd name="T51" fmla="*/ 2147483647 h 1115"/>
              <a:gd name="T52" fmla="*/ 2147483647 w 1108"/>
              <a:gd name="T53" fmla="*/ 2147483647 h 1115"/>
              <a:gd name="T54" fmla="*/ 2147483647 w 1108"/>
              <a:gd name="T55" fmla="*/ 2147483647 h 1115"/>
              <a:gd name="T56" fmla="*/ 2147483647 w 1108"/>
              <a:gd name="T57" fmla="*/ 2147483647 h 1115"/>
              <a:gd name="T58" fmla="*/ 2147483647 w 1108"/>
              <a:gd name="T59" fmla="*/ 2147483647 h 1115"/>
              <a:gd name="T60" fmla="*/ 2147483647 w 1108"/>
              <a:gd name="T61" fmla="*/ 2147483647 h 1115"/>
              <a:gd name="T62" fmla="*/ 2147483647 w 1108"/>
              <a:gd name="T63" fmla="*/ 2147483647 h 1115"/>
              <a:gd name="T64" fmla="*/ 2147483647 w 1108"/>
              <a:gd name="T65" fmla="*/ 2147483647 h 1115"/>
              <a:gd name="T66" fmla="*/ 2147483647 w 1108"/>
              <a:gd name="T67" fmla="*/ 2147483647 h 1115"/>
              <a:gd name="T68" fmla="*/ 2147483647 w 1108"/>
              <a:gd name="T69" fmla="*/ 2147483647 h 1115"/>
              <a:gd name="T70" fmla="*/ 2147483647 w 1108"/>
              <a:gd name="T71" fmla="*/ 2147483647 h 1115"/>
              <a:gd name="T72" fmla="*/ 2147483647 w 1108"/>
              <a:gd name="T73" fmla="*/ 2147483647 h 1115"/>
              <a:gd name="T74" fmla="*/ 2147483647 w 1108"/>
              <a:gd name="T75" fmla="*/ 2147483647 h 1115"/>
              <a:gd name="T76" fmla="*/ 2147483647 w 1108"/>
              <a:gd name="T77" fmla="*/ 2147483647 h 1115"/>
              <a:gd name="T78" fmla="*/ 2147483647 w 1108"/>
              <a:gd name="T79" fmla="*/ 0 h 111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108"/>
              <a:gd name="T121" fmla="*/ 0 h 1115"/>
              <a:gd name="T122" fmla="*/ 1108 w 1108"/>
              <a:gd name="T123" fmla="*/ 1115 h 111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108" h="1115">
                <a:moveTo>
                  <a:pt x="580" y="65"/>
                </a:moveTo>
                <a:lnTo>
                  <a:pt x="531" y="66"/>
                </a:lnTo>
                <a:lnTo>
                  <a:pt x="483" y="0"/>
                </a:lnTo>
                <a:lnTo>
                  <a:pt x="447" y="6"/>
                </a:lnTo>
                <a:lnTo>
                  <a:pt x="427" y="78"/>
                </a:lnTo>
                <a:lnTo>
                  <a:pt x="378" y="95"/>
                </a:lnTo>
                <a:lnTo>
                  <a:pt x="316" y="48"/>
                </a:lnTo>
                <a:lnTo>
                  <a:pt x="285" y="66"/>
                </a:lnTo>
                <a:lnTo>
                  <a:pt x="285" y="141"/>
                </a:lnTo>
                <a:lnTo>
                  <a:pt x="244" y="173"/>
                </a:lnTo>
                <a:lnTo>
                  <a:pt x="172" y="149"/>
                </a:lnTo>
                <a:lnTo>
                  <a:pt x="147" y="173"/>
                </a:lnTo>
                <a:lnTo>
                  <a:pt x="171" y="245"/>
                </a:lnTo>
                <a:lnTo>
                  <a:pt x="141" y="288"/>
                </a:lnTo>
                <a:lnTo>
                  <a:pt x="66" y="288"/>
                </a:lnTo>
                <a:lnTo>
                  <a:pt x="49" y="320"/>
                </a:lnTo>
                <a:lnTo>
                  <a:pt x="93" y="377"/>
                </a:lnTo>
                <a:lnTo>
                  <a:pt x="78" y="429"/>
                </a:lnTo>
                <a:lnTo>
                  <a:pt x="7" y="452"/>
                </a:lnTo>
                <a:lnTo>
                  <a:pt x="1" y="485"/>
                </a:lnTo>
                <a:lnTo>
                  <a:pt x="61" y="531"/>
                </a:lnTo>
                <a:lnTo>
                  <a:pt x="61" y="582"/>
                </a:lnTo>
                <a:lnTo>
                  <a:pt x="0" y="627"/>
                </a:lnTo>
                <a:lnTo>
                  <a:pt x="6" y="662"/>
                </a:lnTo>
                <a:lnTo>
                  <a:pt x="78" y="684"/>
                </a:lnTo>
                <a:lnTo>
                  <a:pt x="93" y="734"/>
                </a:lnTo>
                <a:lnTo>
                  <a:pt x="51" y="795"/>
                </a:lnTo>
                <a:lnTo>
                  <a:pt x="64" y="827"/>
                </a:lnTo>
                <a:lnTo>
                  <a:pt x="138" y="825"/>
                </a:lnTo>
                <a:lnTo>
                  <a:pt x="171" y="866"/>
                </a:lnTo>
                <a:lnTo>
                  <a:pt x="147" y="941"/>
                </a:lnTo>
                <a:lnTo>
                  <a:pt x="172" y="966"/>
                </a:lnTo>
                <a:lnTo>
                  <a:pt x="243" y="942"/>
                </a:lnTo>
                <a:lnTo>
                  <a:pt x="282" y="971"/>
                </a:lnTo>
                <a:lnTo>
                  <a:pt x="283" y="1050"/>
                </a:lnTo>
                <a:lnTo>
                  <a:pt x="315" y="1067"/>
                </a:lnTo>
                <a:lnTo>
                  <a:pt x="376" y="1019"/>
                </a:lnTo>
                <a:lnTo>
                  <a:pt x="429" y="1037"/>
                </a:lnTo>
                <a:lnTo>
                  <a:pt x="447" y="1109"/>
                </a:lnTo>
                <a:lnTo>
                  <a:pt x="484" y="1115"/>
                </a:lnTo>
                <a:lnTo>
                  <a:pt x="528" y="1052"/>
                </a:lnTo>
                <a:lnTo>
                  <a:pt x="579" y="1052"/>
                </a:lnTo>
                <a:lnTo>
                  <a:pt x="621" y="1113"/>
                </a:lnTo>
                <a:lnTo>
                  <a:pt x="658" y="1107"/>
                </a:lnTo>
                <a:lnTo>
                  <a:pt x="678" y="1037"/>
                </a:lnTo>
                <a:lnTo>
                  <a:pt x="729" y="1020"/>
                </a:lnTo>
                <a:lnTo>
                  <a:pt x="790" y="1065"/>
                </a:lnTo>
                <a:lnTo>
                  <a:pt x="822" y="1050"/>
                </a:lnTo>
                <a:lnTo>
                  <a:pt x="822" y="972"/>
                </a:lnTo>
                <a:lnTo>
                  <a:pt x="864" y="941"/>
                </a:lnTo>
                <a:lnTo>
                  <a:pt x="937" y="965"/>
                </a:lnTo>
                <a:lnTo>
                  <a:pt x="960" y="942"/>
                </a:lnTo>
                <a:lnTo>
                  <a:pt x="936" y="869"/>
                </a:lnTo>
                <a:lnTo>
                  <a:pt x="967" y="827"/>
                </a:lnTo>
                <a:lnTo>
                  <a:pt x="1041" y="828"/>
                </a:lnTo>
                <a:lnTo>
                  <a:pt x="1057" y="795"/>
                </a:lnTo>
                <a:lnTo>
                  <a:pt x="1012" y="735"/>
                </a:lnTo>
                <a:lnTo>
                  <a:pt x="1029" y="686"/>
                </a:lnTo>
                <a:lnTo>
                  <a:pt x="1099" y="663"/>
                </a:lnTo>
                <a:lnTo>
                  <a:pt x="1108" y="626"/>
                </a:lnTo>
                <a:lnTo>
                  <a:pt x="1044" y="584"/>
                </a:lnTo>
                <a:lnTo>
                  <a:pt x="1044" y="530"/>
                </a:lnTo>
                <a:lnTo>
                  <a:pt x="1107" y="486"/>
                </a:lnTo>
                <a:lnTo>
                  <a:pt x="1099" y="450"/>
                </a:lnTo>
                <a:lnTo>
                  <a:pt x="1029" y="429"/>
                </a:lnTo>
                <a:lnTo>
                  <a:pt x="1011" y="378"/>
                </a:lnTo>
                <a:lnTo>
                  <a:pt x="1056" y="317"/>
                </a:lnTo>
                <a:lnTo>
                  <a:pt x="1041" y="287"/>
                </a:lnTo>
                <a:lnTo>
                  <a:pt x="964" y="287"/>
                </a:lnTo>
                <a:lnTo>
                  <a:pt x="934" y="245"/>
                </a:lnTo>
                <a:lnTo>
                  <a:pt x="958" y="173"/>
                </a:lnTo>
                <a:lnTo>
                  <a:pt x="933" y="147"/>
                </a:lnTo>
                <a:lnTo>
                  <a:pt x="864" y="171"/>
                </a:lnTo>
                <a:lnTo>
                  <a:pt x="822" y="143"/>
                </a:lnTo>
                <a:lnTo>
                  <a:pt x="820" y="66"/>
                </a:lnTo>
                <a:lnTo>
                  <a:pt x="790" y="51"/>
                </a:lnTo>
                <a:lnTo>
                  <a:pt x="730" y="93"/>
                </a:lnTo>
                <a:lnTo>
                  <a:pt x="681" y="80"/>
                </a:lnTo>
                <a:lnTo>
                  <a:pt x="657" y="5"/>
                </a:lnTo>
                <a:lnTo>
                  <a:pt x="624" y="0"/>
                </a:lnTo>
                <a:lnTo>
                  <a:pt x="580" y="65"/>
                </a:lnTo>
                <a:close/>
              </a:path>
            </a:pathLst>
          </a:custGeom>
          <a:solidFill>
            <a:srgbClr val="3351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en-GB"/>
          </a:p>
        </p:txBody>
      </p:sp>
      <p:sp>
        <p:nvSpPr>
          <p:cNvPr id="27" name="Oval 18"/>
          <p:cNvSpPr>
            <a:spLocks noChangeArrowheads="1"/>
          </p:cNvSpPr>
          <p:nvPr/>
        </p:nvSpPr>
        <p:spPr bwMode="gray">
          <a:xfrm>
            <a:off x="4819650" y="2372365"/>
            <a:ext cx="1133475" cy="1133475"/>
          </a:xfrm>
          <a:prstGeom prst="ellipse">
            <a:avLst/>
          </a:prstGeom>
          <a:solidFill>
            <a:srgbClr val="B3D5F2"/>
          </a:solidFill>
          <a:ln w="76200">
            <a:solidFill>
              <a:schemeClr val="bg1"/>
            </a:solidFill>
          </a:ln>
          <a:extLst/>
        </p:spPr>
        <p:txBody>
          <a:bodyPr wrap="none" lIns="0" tIns="0" rIns="0" bIns="0" anchor="ctr"/>
          <a:lstStyle/>
          <a:p>
            <a:pPr algn="ctr"/>
            <a:endParaRPr lang="de-DE"/>
          </a:p>
        </p:txBody>
      </p:sp>
      <p:sp>
        <p:nvSpPr>
          <p:cNvPr id="28" name="Freeform 19"/>
          <p:cNvSpPr>
            <a:spLocks/>
          </p:cNvSpPr>
          <p:nvPr/>
        </p:nvSpPr>
        <p:spPr bwMode="gray">
          <a:xfrm>
            <a:off x="6221413" y="1924695"/>
            <a:ext cx="1758950" cy="1770063"/>
          </a:xfrm>
          <a:custGeom>
            <a:avLst/>
            <a:gdLst>
              <a:gd name="T0" fmla="*/ 2147483647 w 1108"/>
              <a:gd name="T1" fmla="*/ 2147483647 h 1115"/>
              <a:gd name="T2" fmla="*/ 2147483647 w 1108"/>
              <a:gd name="T3" fmla="*/ 2147483647 h 1115"/>
              <a:gd name="T4" fmla="*/ 2147483647 w 1108"/>
              <a:gd name="T5" fmla="*/ 2147483647 h 1115"/>
              <a:gd name="T6" fmla="*/ 2147483647 w 1108"/>
              <a:gd name="T7" fmla="*/ 2147483647 h 1115"/>
              <a:gd name="T8" fmla="*/ 2147483647 w 1108"/>
              <a:gd name="T9" fmla="*/ 2147483647 h 1115"/>
              <a:gd name="T10" fmla="*/ 2147483647 w 1108"/>
              <a:gd name="T11" fmla="*/ 2147483647 h 1115"/>
              <a:gd name="T12" fmla="*/ 2147483647 w 1108"/>
              <a:gd name="T13" fmla="*/ 2147483647 h 1115"/>
              <a:gd name="T14" fmla="*/ 2147483647 w 1108"/>
              <a:gd name="T15" fmla="*/ 2147483647 h 1115"/>
              <a:gd name="T16" fmla="*/ 2147483647 w 1108"/>
              <a:gd name="T17" fmla="*/ 2147483647 h 1115"/>
              <a:gd name="T18" fmla="*/ 2147483647 w 1108"/>
              <a:gd name="T19" fmla="*/ 2147483647 h 1115"/>
              <a:gd name="T20" fmla="*/ 2147483647 w 1108"/>
              <a:gd name="T21" fmla="*/ 2147483647 h 1115"/>
              <a:gd name="T22" fmla="*/ 2147483647 w 1108"/>
              <a:gd name="T23" fmla="*/ 2147483647 h 1115"/>
              <a:gd name="T24" fmla="*/ 2147483647 w 1108"/>
              <a:gd name="T25" fmla="*/ 2147483647 h 1115"/>
              <a:gd name="T26" fmla="*/ 2147483647 w 1108"/>
              <a:gd name="T27" fmla="*/ 2147483647 h 1115"/>
              <a:gd name="T28" fmla="*/ 2147483647 w 1108"/>
              <a:gd name="T29" fmla="*/ 2147483647 h 1115"/>
              <a:gd name="T30" fmla="*/ 2147483647 w 1108"/>
              <a:gd name="T31" fmla="*/ 2147483647 h 1115"/>
              <a:gd name="T32" fmla="*/ 2147483647 w 1108"/>
              <a:gd name="T33" fmla="*/ 2147483647 h 1115"/>
              <a:gd name="T34" fmla="*/ 2147483647 w 1108"/>
              <a:gd name="T35" fmla="*/ 2147483647 h 1115"/>
              <a:gd name="T36" fmla="*/ 2147483647 w 1108"/>
              <a:gd name="T37" fmla="*/ 2147483647 h 1115"/>
              <a:gd name="T38" fmla="*/ 2147483647 w 1108"/>
              <a:gd name="T39" fmla="*/ 2147483647 h 1115"/>
              <a:gd name="T40" fmla="*/ 2147483647 w 1108"/>
              <a:gd name="T41" fmla="*/ 2147483647 h 1115"/>
              <a:gd name="T42" fmla="*/ 2147483647 w 1108"/>
              <a:gd name="T43" fmla="*/ 2147483647 h 1115"/>
              <a:gd name="T44" fmla="*/ 2147483647 w 1108"/>
              <a:gd name="T45" fmla="*/ 2147483647 h 1115"/>
              <a:gd name="T46" fmla="*/ 2147483647 w 1108"/>
              <a:gd name="T47" fmla="*/ 2147483647 h 1115"/>
              <a:gd name="T48" fmla="*/ 2147483647 w 1108"/>
              <a:gd name="T49" fmla="*/ 2147483647 h 1115"/>
              <a:gd name="T50" fmla="*/ 2147483647 w 1108"/>
              <a:gd name="T51" fmla="*/ 2147483647 h 1115"/>
              <a:gd name="T52" fmla="*/ 2147483647 w 1108"/>
              <a:gd name="T53" fmla="*/ 2147483647 h 1115"/>
              <a:gd name="T54" fmla="*/ 2147483647 w 1108"/>
              <a:gd name="T55" fmla="*/ 2147483647 h 1115"/>
              <a:gd name="T56" fmla="*/ 2147483647 w 1108"/>
              <a:gd name="T57" fmla="*/ 2147483647 h 1115"/>
              <a:gd name="T58" fmla="*/ 2147483647 w 1108"/>
              <a:gd name="T59" fmla="*/ 2147483647 h 1115"/>
              <a:gd name="T60" fmla="*/ 2147483647 w 1108"/>
              <a:gd name="T61" fmla="*/ 2147483647 h 1115"/>
              <a:gd name="T62" fmla="*/ 2147483647 w 1108"/>
              <a:gd name="T63" fmla="*/ 2147483647 h 1115"/>
              <a:gd name="T64" fmla="*/ 2147483647 w 1108"/>
              <a:gd name="T65" fmla="*/ 2147483647 h 1115"/>
              <a:gd name="T66" fmla="*/ 2147483647 w 1108"/>
              <a:gd name="T67" fmla="*/ 2147483647 h 1115"/>
              <a:gd name="T68" fmla="*/ 2147483647 w 1108"/>
              <a:gd name="T69" fmla="*/ 2147483647 h 1115"/>
              <a:gd name="T70" fmla="*/ 2147483647 w 1108"/>
              <a:gd name="T71" fmla="*/ 2147483647 h 1115"/>
              <a:gd name="T72" fmla="*/ 2147483647 w 1108"/>
              <a:gd name="T73" fmla="*/ 2147483647 h 1115"/>
              <a:gd name="T74" fmla="*/ 2147483647 w 1108"/>
              <a:gd name="T75" fmla="*/ 2147483647 h 1115"/>
              <a:gd name="T76" fmla="*/ 2147483647 w 1108"/>
              <a:gd name="T77" fmla="*/ 2147483647 h 1115"/>
              <a:gd name="T78" fmla="*/ 2147483647 w 1108"/>
              <a:gd name="T79" fmla="*/ 0 h 111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108"/>
              <a:gd name="T121" fmla="*/ 0 h 1115"/>
              <a:gd name="T122" fmla="*/ 1108 w 1108"/>
              <a:gd name="T123" fmla="*/ 1115 h 111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108" h="1115">
                <a:moveTo>
                  <a:pt x="580" y="65"/>
                </a:moveTo>
                <a:lnTo>
                  <a:pt x="531" y="66"/>
                </a:lnTo>
                <a:lnTo>
                  <a:pt x="483" y="0"/>
                </a:lnTo>
                <a:lnTo>
                  <a:pt x="447" y="6"/>
                </a:lnTo>
                <a:lnTo>
                  <a:pt x="427" y="78"/>
                </a:lnTo>
                <a:lnTo>
                  <a:pt x="378" y="95"/>
                </a:lnTo>
                <a:lnTo>
                  <a:pt x="316" y="48"/>
                </a:lnTo>
                <a:lnTo>
                  <a:pt x="285" y="66"/>
                </a:lnTo>
                <a:lnTo>
                  <a:pt x="285" y="141"/>
                </a:lnTo>
                <a:lnTo>
                  <a:pt x="244" y="173"/>
                </a:lnTo>
                <a:lnTo>
                  <a:pt x="172" y="149"/>
                </a:lnTo>
                <a:lnTo>
                  <a:pt x="147" y="173"/>
                </a:lnTo>
                <a:lnTo>
                  <a:pt x="171" y="245"/>
                </a:lnTo>
                <a:lnTo>
                  <a:pt x="141" y="288"/>
                </a:lnTo>
                <a:lnTo>
                  <a:pt x="66" y="288"/>
                </a:lnTo>
                <a:lnTo>
                  <a:pt x="49" y="320"/>
                </a:lnTo>
                <a:lnTo>
                  <a:pt x="93" y="377"/>
                </a:lnTo>
                <a:lnTo>
                  <a:pt x="78" y="429"/>
                </a:lnTo>
                <a:lnTo>
                  <a:pt x="7" y="452"/>
                </a:lnTo>
                <a:lnTo>
                  <a:pt x="1" y="485"/>
                </a:lnTo>
                <a:lnTo>
                  <a:pt x="61" y="531"/>
                </a:lnTo>
                <a:lnTo>
                  <a:pt x="61" y="582"/>
                </a:lnTo>
                <a:lnTo>
                  <a:pt x="0" y="627"/>
                </a:lnTo>
                <a:lnTo>
                  <a:pt x="6" y="662"/>
                </a:lnTo>
                <a:lnTo>
                  <a:pt x="78" y="684"/>
                </a:lnTo>
                <a:lnTo>
                  <a:pt x="93" y="734"/>
                </a:lnTo>
                <a:lnTo>
                  <a:pt x="51" y="795"/>
                </a:lnTo>
                <a:lnTo>
                  <a:pt x="64" y="827"/>
                </a:lnTo>
                <a:lnTo>
                  <a:pt x="138" y="825"/>
                </a:lnTo>
                <a:lnTo>
                  <a:pt x="171" y="866"/>
                </a:lnTo>
                <a:lnTo>
                  <a:pt x="147" y="941"/>
                </a:lnTo>
                <a:lnTo>
                  <a:pt x="172" y="966"/>
                </a:lnTo>
                <a:lnTo>
                  <a:pt x="243" y="942"/>
                </a:lnTo>
                <a:lnTo>
                  <a:pt x="282" y="971"/>
                </a:lnTo>
                <a:lnTo>
                  <a:pt x="283" y="1050"/>
                </a:lnTo>
                <a:lnTo>
                  <a:pt x="315" y="1067"/>
                </a:lnTo>
                <a:lnTo>
                  <a:pt x="376" y="1019"/>
                </a:lnTo>
                <a:lnTo>
                  <a:pt x="429" y="1037"/>
                </a:lnTo>
                <a:lnTo>
                  <a:pt x="447" y="1109"/>
                </a:lnTo>
                <a:lnTo>
                  <a:pt x="484" y="1115"/>
                </a:lnTo>
                <a:lnTo>
                  <a:pt x="528" y="1052"/>
                </a:lnTo>
                <a:lnTo>
                  <a:pt x="579" y="1052"/>
                </a:lnTo>
                <a:lnTo>
                  <a:pt x="621" y="1113"/>
                </a:lnTo>
                <a:lnTo>
                  <a:pt x="658" y="1107"/>
                </a:lnTo>
                <a:lnTo>
                  <a:pt x="678" y="1037"/>
                </a:lnTo>
                <a:lnTo>
                  <a:pt x="729" y="1020"/>
                </a:lnTo>
                <a:lnTo>
                  <a:pt x="790" y="1065"/>
                </a:lnTo>
                <a:lnTo>
                  <a:pt x="822" y="1050"/>
                </a:lnTo>
                <a:lnTo>
                  <a:pt x="822" y="972"/>
                </a:lnTo>
                <a:lnTo>
                  <a:pt x="864" y="941"/>
                </a:lnTo>
                <a:lnTo>
                  <a:pt x="937" y="965"/>
                </a:lnTo>
                <a:lnTo>
                  <a:pt x="960" y="942"/>
                </a:lnTo>
                <a:lnTo>
                  <a:pt x="936" y="869"/>
                </a:lnTo>
                <a:lnTo>
                  <a:pt x="967" y="827"/>
                </a:lnTo>
                <a:lnTo>
                  <a:pt x="1041" y="828"/>
                </a:lnTo>
                <a:lnTo>
                  <a:pt x="1057" y="795"/>
                </a:lnTo>
                <a:lnTo>
                  <a:pt x="1012" y="735"/>
                </a:lnTo>
                <a:lnTo>
                  <a:pt x="1029" y="686"/>
                </a:lnTo>
                <a:lnTo>
                  <a:pt x="1099" y="663"/>
                </a:lnTo>
                <a:lnTo>
                  <a:pt x="1108" y="626"/>
                </a:lnTo>
                <a:lnTo>
                  <a:pt x="1044" y="584"/>
                </a:lnTo>
                <a:lnTo>
                  <a:pt x="1044" y="530"/>
                </a:lnTo>
                <a:lnTo>
                  <a:pt x="1107" y="486"/>
                </a:lnTo>
                <a:lnTo>
                  <a:pt x="1099" y="450"/>
                </a:lnTo>
                <a:lnTo>
                  <a:pt x="1029" y="429"/>
                </a:lnTo>
                <a:lnTo>
                  <a:pt x="1011" y="378"/>
                </a:lnTo>
                <a:lnTo>
                  <a:pt x="1056" y="317"/>
                </a:lnTo>
                <a:lnTo>
                  <a:pt x="1041" y="287"/>
                </a:lnTo>
                <a:lnTo>
                  <a:pt x="964" y="287"/>
                </a:lnTo>
                <a:lnTo>
                  <a:pt x="934" y="245"/>
                </a:lnTo>
                <a:lnTo>
                  <a:pt x="958" y="173"/>
                </a:lnTo>
                <a:lnTo>
                  <a:pt x="933" y="147"/>
                </a:lnTo>
                <a:lnTo>
                  <a:pt x="864" y="171"/>
                </a:lnTo>
                <a:lnTo>
                  <a:pt x="822" y="143"/>
                </a:lnTo>
                <a:lnTo>
                  <a:pt x="820" y="66"/>
                </a:lnTo>
                <a:lnTo>
                  <a:pt x="790" y="51"/>
                </a:lnTo>
                <a:lnTo>
                  <a:pt x="730" y="93"/>
                </a:lnTo>
                <a:lnTo>
                  <a:pt x="681" y="80"/>
                </a:lnTo>
                <a:lnTo>
                  <a:pt x="657" y="5"/>
                </a:lnTo>
                <a:lnTo>
                  <a:pt x="624" y="0"/>
                </a:lnTo>
                <a:lnTo>
                  <a:pt x="580" y="65"/>
                </a:lnTo>
                <a:close/>
              </a:path>
            </a:pathLst>
          </a:custGeom>
          <a:solidFill>
            <a:srgbClr val="3351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en-GB"/>
          </a:p>
        </p:txBody>
      </p:sp>
      <p:sp>
        <p:nvSpPr>
          <p:cNvPr id="29" name="Oval 20"/>
          <p:cNvSpPr>
            <a:spLocks noChangeArrowheads="1"/>
          </p:cNvSpPr>
          <p:nvPr/>
        </p:nvSpPr>
        <p:spPr bwMode="gray">
          <a:xfrm>
            <a:off x="6530975" y="2240608"/>
            <a:ext cx="1133475" cy="1133475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/>
            <a:endParaRPr lang="de-DE"/>
          </a:p>
        </p:txBody>
      </p:sp>
      <p:grpSp>
        <p:nvGrpSpPr>
          <p:cNvPr id="8" name="Gruppieren 7"/>
          <p:cNvGrpSpPr/>
          <p:nvPr/>
        </p:nvGrpSpPr>
        <p:grpSpPr>
          <a:xfrm>
            <a:off x="7904163" y="2445390"/>
            <a:ext cx="1128712" cy="1136650"/>
            <a:chOff x="6380163" y="2445390"/>
            <a:chExt cx="1128712" cy="1136650"/>
          </a:xfrm>
        </p:grpSpPr>
        <p:sp>
          <p:nvSpPr>
            <p:cNvPr id="30" name="Freeform 21"/>
            <p:cNvSpPr>
              <a:spLocks/>
            </p:cNvSpPr>
            <p:nvPr/>
          </p:nvSpPr>
          <p:spPr bwMode="gray">
            <a:xfrm>
              <a:off x="6380163" y="2445390"/>
              <a:ext cx="1128712" cy="1136650"/>
            </a:xfrm>
            <a:custGeom>
              <a:avLst/>
              <a:gdLst>
                <a:gd name="T0" fmla="*/ 2147483647 w 711"/>
                <a:gd name="T1" fmla="*/ 2147483647 h 716"/>
                <a:gd name="T2" fmla="*/ 2147483647 w 711"/>
                <a:gd name="T3" fmla="*/ 2147483647 h 716"/>
                <a:gd name="T4" fmla="*/ 2147483647 w 711"/>
                <a:gd name="T5" fmla="*/ 2147483647 h 716"/>
                <a:gd name="T6" fmla="*/ 2147483647 w 711"/>
                <a:gd name="T7" fmla="*/ 2147483647 h 716"/>
                <a:gd name="T8" fmla="*/ 2147483647 w 711"/>
                <a:gd name="T9" fmla="*/ 2147483647 h 716"/>
                <a:gd name="T10" fmla="*/ 2147483647 w 711"/>
                <a:gd name="T11" fmla="*/ 2147483647 h 716"/>
                <a:gd name="T12" fmla="*/ 2147483647 w 711"/>
                <a:gd name="T13" fmla="*/ 2147483647 h 716"/>
                <a:gd name="T14" fmla="*/ 2147483647 w 711"/>
                <a:gd name="T15" fmla="*/ 2147483647 h 716"/>
                <a:gd name="T16" fmla="*/ 2147483647 w 711"/>
                <a:gd name="T17" fmla="*/ 2147483647 h 716"/>
                <a:gd name="T18" fmla="*/ 2147483647 w 711"/>
                <a:gd name="T19" fmla="*/ 2147483647 h 716"/>
                <a:gd name="T20" fmla="*/ 2147483647 w 711"/>
                <a:gd name="T21" fmla="*/ 2147483647 h 716"/>
                <a:gd name="T22" fmla="*/ 0 w 711"/>
                <a:gd name="T23" fmla="*/ 2147483647 h 716"/>
                <a:gd name="T24" fmla="*/ 2147483647 w 711"/>
                <a:gd name="T25" fmla="*/ 2147483647 h 716"/>
                <a:gd name="T26" fmla="*/ 2147483647 w 711"/>
                <a:gd name="T27" fmla="*/ 2147483647 h 716"/>
                <a:gd name="T28" fmla="*/ 2147483647 w 711"/>
                <a:gd name="T29" fmla="*/ 2147483647 h 716"/>
                <a:gd name="T30" fmla="*/ 2147483647 w 711"/>
                <a:gd name="T31" fmla="*/ 2147483647 h 716"/>
                <a:gd name="T32" fmla="*/ 2147483647 w 711"/>
                <a:gd name="T33" fmla="*/ 2147483647 h 716"/>
                <a:gd name="T34" fmla="*/ 2147483647 w 711"/>
                <a:gd name="T35" fmla="*/ 2147483647 h 716"/>
                <a:gd name="T36" fmla="*/ 2147483647 w 711"/>
                <a:gd name="T37" fmla="*/ 2147483647 h 716"/>
                <a:gd name="T38" fmla="*/ 2147483647 w 711"/>
                <a:gd name="T39" fmla="*/ 2147483647 h 716"/>
                <a:gd name="T40" fmla="*/ 2147483647 w 711"/>
                <a:gd name="T41" fmla="*/ 2147483647 h 716"/>
                <a:gd name="T42" fmla="*/ 2147483647 w 711"/>
                <a:gd name="T43" fmla="*/ 2147483647 h 716"/>
                <a:gd name="T44" fmla="*/ 2147483647 w 711"/>
                <a:gd name="T45" fmla="*/ 2147483647 h 716"/>
                <a:gd name="T46" fmla="*/ 2147483647 w 711"/>
                <a:gd name="T47" fmla="*/ 2147483647 h 716"/>
                <a:gd name="T48" fmla="*/ 2147483647 w 711"/>
                <a:gd name="T49" fmla="*/ 2147483647 h 716"/>
                <a:gd name="T50" fmla="*/ 2147483647 w 711"/>
                <a:gd name="T51" fmla="*/ 2147483647 h 716"/>
                <a:gd name="T52" fmla="*/ 2147483647 w 711"/>
                <a:gd name="T53" fmla="*/ 2147483647 h 716"/>
                <a:gd name="T54" fmla="*/ 2147483647 w 711"/>
                <a:gd name="T55" fmla="*/ 2147483647 h 716"/>
                <a:gd name="T56" fmla="*/ 2147483647 w 711"/>
                <a:gd name="T57" fmla="*/ 2147483647 h 716"/>
                <a:gd name="T58" fmla="*/ 2147483647 w 711"/>
                <a:gd name="T59" fmla="*/ 2147483647 h 716"/>
                <a:gd name="T60" fmla="*/ 2147483647 w 711"/>
                <a:gd name="T61" fmla="*/ 2147483647 h 716"/>
                <a:gd name="T62" fmla="*/ 2147483647 w 711"/>
                <a:gd name="T63" fmla="*/ 2147483647 h 716"/>
                <a:gd name="T64" fmla="*/ 2147483647 w 711"/>
                <a:gd name="T65" fmla="*/ 2147483647 h 716"/>
                <a:gd name="T66" fmla="*/ 2147483647 w 711"/>
                <a:gd name="T67" fmla="*/ 2147483647 h 716"/>
                <a:gd name="T68" fmla="*/ 2147483647 w 711"/>
                <a:gd name="T69" fmla="*/ 2147483647 h 716"/>
                <a:gd name="T70" fmla="*/ 2147483647 w 711"/>
                <a:gd name="T71" fmla="*/ 2147483647 h 716"/>
                <a:gd name="T72" fmla="*/ 2147483647 w 711"/>
                <a:gd name="T73" fmla="*/ 2147483647 h 716"/>
                <a:gd name="T74" fmla="*/ 2147483647 w 711"/>
                <a:gd name="T75" fmla="*/ 2147483647 h 716"/>
                <a:gd name="T76" fmla="*/ 2147483647 w 711"/>
                <a:gd name="T77" fmla="*/ 2147483647 h 716"/>
                <a:gd name="T78" fmla="*/ 2147483647 w 711"/>
                <a:gd name="T79" fmla="*/ 2147483647 h 716"/>
                <a:gd name="T80" fmla="*/ 2147483647 w 711"/>
                <a:gd name="T81" fmla="*/ 2147483647 h 716"/>
                <a:gd name="T82" fmla="*/ 2147483647 w 711"/>
                <a:gd name="T83" fmla="*/ 2147483647 h 716"/>
                <a:gd name="T84" fmla="*/ 2147483647 w 711"/>
                <a:gd name="T85" fmla="*/ 2147483647 h 716"/>
                <a:gd name="T86" fmla="*/ 2147483647 w 711"/>
                <a:gd name="T87" fmla="*/ 2147483647 h 716"/>
                <a:gd name="T88" fmla="*/ 2147483647 w 711"/>
                <a:gd name="T89" fmla="*/ 2147483647 h 716"/>
                <a:gd name="T90" fmla="*/ 2147483647 w 711"/>
                <a:gd name="T91" fmla="*/ 2147483647 h 716"/>
                <a:gd name="T92" fmla="*/ 2147483647 w 711"/>
                <a:gd name="T93" fmla="*/ 2147483647 h 716"/>
                <a:gd name="T94" fmla="*/ 2147483647 w 711"/>
                <a:gd name="T95" fmla="*/ 0 h 716"/>
                <a:gd name="T96" fmla="*/ 2147483647 w 711"/>
                <a:gd name="T97" fmla="*/ 2147483647 h 71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11"/>
                <a:gd name="T148" fmla="*/ 0 h 716"/>
                <a:gd name="T149" fmla="*/ 711 w 711"/>
                <a:gd name="T150" fmla="*/ 716 h 71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11" h="716">
                  <a:moveTo>
                    <a:pt x="291" y="6"/>
                  </a:moveTo>
                  <a:lnTo>
                    <a:pt x="276" y="83"/>
                  </a:lnTo>
                  <a:lnTo>
                    <a:pt x="222" y="105"/>
                  </a:lnTo>
                  <a:lnTo>
                    <a:pt x="152" y="62"/>
                  </a:lnTo>
                  <a:lnTo>
                    <a:pt x="123" y="86"/>
                  </a:lnTo>
                  <a:lnTo>
                    <a:pt x="147" y="164"/>
                  </a:lnTo>
                  <a:lnTo>
                    <a:pt x="111" y="210"/>
                  </a:lnTo>
                  <a:lnTo>
                    <a:pt x="33" y="206"/>
                  </a:lnTo>
                  <a:lnTo>
                    <a:pt x="20" y="242"/>
                  </a:lnTo>
                  <a:lnTo>
                    <a:pt x="78" y="297"/>
                  </a:lnTo>
                  <a:lnTo>
                    <a:pt x="69" y="350"/>
                  </a:lnTo>
                  <a:lnTo>
                    <a:pt x="0" y="386"/>
                  </a:lnTo>
                  <a:lnTo>
                    <a:pt x="2" y="428"/>
                  </a:lnTo>
                  <a:lnTo>
                    <a:pt x="83" y="444"/>
                  </a:lnTo>
                  <a:lnTo>
                    <a:pt x="104" y="495"/>
                  </a:lnTo>
                  <a:lnTo>
                    <a:pt x="63" y="561"/>
                  </a:lnTo>
                  <a:lnTo>
                    <a:pt x="87" y="594"/>
                  </a:lnTo>
                  <a:lnTo>
                    <a:pt x="164" y="572"/>
                  </a:lnTo>
                  <a:lnTo>
                    <a:pt x="204" y="603"/>
                  </a:lnTo>
                  <a:lnTo>
                    <a:pt x="203" y="680"/>
                  </a:lnTo>
                  <a:lnTo>
                    <a:pt x="245" y="696"/>
                  </a:lnTo>
                  <a:lnTo>
                    <a:pt x="293" y="642"/>
                  </a:lnTo>
                  <a:lnTo>
                    <a:pt x="345" y="648"/>
                  </a:lnTo>
                  <a:lnTo>
                    <a:pt x="383" y="716"/>
                  </a:lnTo>
                  <a:lnTo>
                    <a:pt x="428" y="708"/>
                  </a:lnTo>
                  <a:lnTo>
                    <a:pt x="443" y="635"/>
                  </a:lnTo>
                  <a:lnTo>
                    <a:pt x="495" y="614"/>
                  </a:lnTo>
                  <a:lnTo>
                    <a:pt x="554" y="654"/>
                  </a:lnTo>
                  <a:lnTo>
                    <a:pt x="593" y="624"/>
                  </a:lnTo>
                  <a:lnTo>
                    <a:pt x="569" y="554"/>
                  </a:lnTo>
                  <a:lnTo>
                    <a:pt x="603" y="515"/>
                  </a:lnTo>
                  <a:lnTo>
                    <a:pt x="675" y="516"/>
                  </a:lnTo>
                  <a:lnTo>
                    <a:pt x="693" y="474"/>
                  </a:lnTo>
                  <a:lnTo>
                    <a:pt x="638" y="426"/>
                  </a:lnTo>
                  <a:lnTo>
                    <a:pt x="647" y="371"/>
                  </a:lnTo>
                  <a:lnTo>
                    <a:pt x="711" y="336"/>
                  </a:lnTo>
                  <a:lnTo>
                    <a:pt x="707" y="291"/>
                  </a:lnTo>
                  <a:lnTo>
                    <a:pt x="633" y="275"/>
                  </a:lnTo>
                  <a:lnTo>
                    <a:pt x="614" y="227"/>
                  </a:lnTo>
                  <a:lnTo>
                    <a:pt x="654" y="161"/>
                  </a:lnTo>
                  <a:lnTo>
                    <a:pt x="629" y="126"/>
                  </a:lnTo>
                  <a:lnTo>
                    <a:pt x="554" y="149"/>
                  </a:lnTo>
                  <a:lnTo>
                    <a:pt x="513" y="114"/>
                  </a:lnTo>
                  <a:lnTo>
                    <a:pt x="513" y="36"/>
                  </a:lnTo>
                  <a:lnTo>
                    <a:pt x="477" y="21"/>
                  </a:lnTo>
                  <a:lnTo>
                    <a:pt x="425" y="78"/>
                  </a:lnTo>
                  <a:lnTo>
                    <a:pt x="368" y="72"/>
                  </a:lnTo>
                  <a:lnTo>
                    <a:pt x="332" y="0"/>
                  </a:lnTo>
                  <a:lnTo>
                    <a:pt x="291" y="6"/>
                  </a:lnTo>
                  <a:close/>
                </a:path>
              </a:pathLst>
            </a:custGeom>
            <a:solidFill>
              <a:srgbClr val="335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31" name="Oval 22"/>
            <p:cNvSpPr>
              <a:spLocks noChangeArrowheads="1"/>
            </p:cNvSpPr>
            <p:nvPr/>
          </p:nvSpPr>
          <p:spPr bwMode="gray">
            <a:xfrm>
              <a:off x="6619875" y="2688278"/>
              <a:ext cx="641350" cy="641350"/>
            </a:xfrm>
            <a:prstGeom prst="ellipse">
              <a:avLst/>
            </a:prstGeom>
            <a:solidFill>
              <a:srgbClr val="335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de-DE"/>
            </a:p>
          </p:txBody>
        </p:sp>
      </p:grpSp>
      <p:sp>
        <p:nvSpPr>
          <p:cNvPr id="3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11628035"/>
      </p:ext>
    </p:extLst>
  </p:cSld>
  <p:clrMapOvr>
    <a:masterClrMapping/>
  </p:clrMapOvr>
  <p:transition spd="slow">
    <p:push dir="u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03766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7"/>
          <p:cNvSpPr txBox="1">
            <a:spLocks/>
          </p:cNvSpPr>
          <p:nvPr/>
        </p:nvSpPr>
        <p:spPr>
          <a:xfrm>
            <a:off x="3287944" y="1412880"/>
            <a:ext cx="7127644" cy="4535487"/>
          </a:xfrm>
          <a:prstGeom prst="rect">
            <a:avLst/>
          </a:prstGeom>
          <a:solidFill>
            <a:srgbClr val="D1D1D1"/>
          </a:solidFill>
          <a:ln>
            <a:noFill/>
          </a:ln>
          <a:effectLst/>
        </p:spPr>
        <p:txBody>
          <a:bodyPr wrap="square" lIns="864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  <a:p>
            <a:pPr lvl="2"/>
            <a:endParaRPr lang="de-DE" sz="1400" dirty="0"/>
          </a:p>
        </p:txBody>
      </p:sp>
      <p:sp>
        <p:nvSpPr>
          <p:cNvPr id="92774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ea typeface="ＭＳ Ｐゴシック" pitchFamily="34" charset="-128"/>
              </a:rPr>
              <a:t>Lists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4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927748" name="Freeform 7"/>
          <p:cNvSpPr>
            <a:spLocks/>
          </p:cNvSpPr>
          <p:nvPr/>
        </p:nvSpPr>
        <p:spPr bwMode="gray">
          <a:xfrm>
            <a:off x="2580713" y="1412340"/>
            <a:ext cx="1414462" cy="4518565"/>
          </a:xfrm>
          <a:custGeom>
            <a:avLst/>
            <a:gdLst>
              <a:gd name="T0" fmla="*/ 2147483647 w 848"/>
              <a:gd name="T1" fmla="*/ 0 h 2593"/>
              <a:gd name="T2" fmla="*/ 2147483647 w 848"/>
              <a:gd name="T3" fmla="*/ 0 h 2593"/>
              <a:gd name="T4" fmla="*/ 2147483647 w 848"/>
              <a:gd name="T5" fmla="*/ 2147483647 h 2593"/>
              <a:gd name="T6" fmla="*/ 2147483647 w 848"/>
              <a:gd name="T7" fmla="*/ 2147483647 h 2593"/>
              <a:gd name="T8" fmla="*/ 2147483647 w 848"/>
              <a:gd name="T9" fmla="*/ 2147483647 h 2593"/>
              <a:gd name="T10" fmla="*/ 0 w 848"/>
              <a:gd name="T11" fmla="*/ 2147483647 h 2593"/>
              <a:gd name="T12" fmla="*/ 2147483647 w 848"/>
              <a:gd name="T13" fmla="*/ 0 h 25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48"/>
              <a:gd name="T22" fmla="*/ 0 h 2593"/>
              <a:gd name="T23" fmla="*/ 848 w 848"/>
              <a:gd name="T24" fmla="*/ 2593 h 25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48" h="2593">
                <a:moveTo>
                  <a:pt x="371" y="0"/>
                </a:moveTo>
                <a:lnTo>
                  <a:pt x="847" y="0"/>
                </a:lnTo>
                <a:lnTo>
                  <a:pt x="476" y="1296"/>
                </a:lnTo>
                <a:lnTo>
                  <a:pt x="847" y="2592"/>
                </a:lnTo>
                <a:lnTo>
                  <a:pt x="371" y="2592"/>
                </a:lnTo>
                <a:lnTo>
                  <a:pt x="0" y="1296"/>
                </a:lnTo>
                <a:lnTo>
                  <a:pt x="371" y="0"/>
                </a:lnTo>
              </a:path>
            </a:pathLst>
          </a:custGeom>
          <a:solidFill>
            <a:srgbClr val="68ACE5"/>
          </a:solidFill>
          <a:ln>
            <a:noFill/>
          </a:ln>
          <a:extLst/>
        </p:spPr>
        <p:txBody>
          <a:bodyPr wrap="none" lIns="82845" tIns="41422" rIns="82845" bIns="41422" anchor="ctr"/>
          <a:lstStyle/>
          <a:p>
            <a:pPr algn="ctr" defTabSz="827088"/>
            <a:endParaRPr lang="en-GB" sz="16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927749" name="Oval 8"/>
          <p:cNvSpPr>
            <a:spLocks noChangeArrowheads="1"/>
          </p:cNvSpPr>
          <p:nvPr/>
        </p:nvSpPr>
        <p:spPr bwMode="gray">
          <a:xfrm>
            <a:off x="1766325" y="2770711"/>
            <a:ext cx="1798638" cy="1801812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/>
            </a:solidFill>
            <a:round/>
            <a:headEnd/>
            <a:tailEnd/>
          </a:ln>
        </p:spPr>
        <p:txBody>
          <a:bodyPr wrap="none" lIns="91288" tIns="45644" rIns="91288" bIns="45644" anchor="ctr"/>
          <a:lstStyle/>
          <a:p>
            <a:pPr algn="ctr"/>
            <a:r>
              <a:rPr lang="de-DE" sz="1600" dirty="0" err="1">
                <a:solidFill>
                  <a:srgbClr val="FFFFFF"/>
                </a:solidFill>
              </a:rPr>
              <a:t>Subject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1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243862659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848065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5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1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2" name="Text Placeholder 7"/>
          <p:cNvSpPr txBox="1">
            <a:spLocks/>
          </p:cNvSpPr>
          <p:nvPr/>
        </p:nvSpPr>
        <p:spPr bwMode="gray">
          <a:xfrm>
            <a:off x="1776418" y="1362956"/>
            <a:ext cx="7487587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864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931843" name="AutoShape 3"/>
          <p:cNvSpPr>
            <a:spLocks noChangeArrowheads="1"/>
          </p:cNvSpPr>
          <p:nvPr/>
        </p:nvSpPr>
        <p:spPr bwMode="gray">
          <a:xfrm>
            <a:off x="1776413" y="1362956"/>
            <a:ext cx="731838" cy="1058049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solidFill>
              <a:schemeClr val="bg1"/>
            </a:solidFill>
          </a:ln>
        </p:spPr>
        <p:txBody>
          <a:bodyPr wrap="none" lIns="82845" tIns="41422" rIns="82845" bIns="41422" anchor="ctr"/>
          <a:lstStyle/>
          <a:p>
            <a:pPr algn="ctr" defTabSz="827088"/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24" name="Text Placeholder 7"/>
          <p:cNvSpPr txBox="1">
            <a:spLocks/>
          </p:cNvSpPr>
          <p:nvPr/>
        </p:nvSpPr>
        <p:spPr bwMode="gray">
          <a:xfrm>
            <a:off x="9264000" y="1362956"/>
            <a:ext cx="1151588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b="0" dirty="0"/>
              <a:t>Date</a:t>
            </a:r>
          </a:p>
        </p:txBody>
      </p:sp>
      <p:sp>
        <p:nvSpPr>
          <p:cNvPr id="25" name="Text Placeholder 7"/>
          <p:cNvSpPr txBox="1">
            <a:spLocks/>
          </p:cNvSpPr>
          <p:nvPr/>
        </p:nvSpPr>
        <p:spPr bwMode="gray">
          <a:xfrm>
            <a:off x="1776418" y="2538366"/>
            <a:ext cx="7487587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864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931845" name="AutoShape 5"/>
          <p:cNvSpPr>
            <a:spLocks noChangeArrowheads="1"/>
          </p:cNvSpPr>
          <p:nvPr/>
        </p:nvSpPr>
        <p:spPr bwMode="gray">
          <a:xfrm>
            <a:off x="1776413" y="2542559"/>
            <a:ext cx="731838" cy="1054982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solidFill>
              <a:schemeClr val="bg1"/>
            </a:solidFill>
          </a:ln>
        </p:spPr>
        <p:txBody>
          <a:bodyPr wrap="none" lIns="82845" tIns="41422" rIns="82845" bIns="41422" anchor="ctr"/>
          <a:lstStyle/>
          <a:p>
            <a:pPr algn="ctr" defTabSz="827088"/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26" name="Text Placeholder 7"/>
          <p:cNvSpPr txBox="1">
            <a:spLocks/>
          </p:cNvSpPr>
          <p:nvPr/>
        </p:nvSpPr>
        <p:spPr bwMode="gray">
          <a:xfrm>
            <a:off x="9264000" y="2538366"/>
            <a:ext cx="1151588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b="0" dirty="0"/>
              <a:t>Date</a:t>
            </a:r>
          </a:p>
        </p:txBody>
      </p:sp>
      <p:sp>
        <p:nvSpPr>
          <p:cNvPr id="27" name="Text Placeholder 7"/>
          <p:cNvSpPr txBox="1">
            <a:spLocks/>
          </p:cNvSpPr>
          <p:nvPr/>
        </p:nvSpPr>
        <p:spPr bwMode="gray">
          <a:xfrm>
            <a:off x="1776418" y="3714907"/>
            <a:ext cx="7487587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864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931847" name="AutoShape 7"/>
          <p:cNvSpPr>
            <a:spLocks noChangeArrowheads="1"/>
          </p:cNvSpPr>
          <p:nvPr/>
        </p:nvSpPr>
        <p:spPr bwMode="gray">
          <a:xfrm>
            <a:off x="1776413" y="3716440"/>
            <a:ext cx="731838" cy="1056515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solidFill>
              <a:schemeClr val="bg1"/>
            </a:solidFill>
          </a:ln>
        </p:spPr>
        <p:txBody>
          <a:bodyPr wrap="none" lIns="82845" tIns="41422" rIns="82845" bIns="41422" anchor="ctr"/>
          <a:lstStyle/>
          <a:p>
            <a:pPr algn="ctr" defTabSz="827088"/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28" name="Text Placeholder 7"/>
          <p:cNvSpPr txBox="1">
            <a:spLocks/>
          </p:cNvSpPr>
          <p:nvPr/>
        </p:nvSpPr>
        <p:spPr bwMode="gray">
          <a:xfrm>
            <a:off x="9264000" y="3714907"/>
            <a:ext cx="1151588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b="0" dirty="0"/>
              <a:t>Date</a:t>
            </a:r>
          </a:p>
        </p:txBody>
      </p:sp>
      <p:sp>
        <p:nvSpPr>
          <p:cNvPr id="29" name="Text Placeholder 7"/>
          <p:cNvSpPr txBox="1">
            <a:spLocks/>
          </p:cNvSpPr>
          <p:nvPr/>
        </p:nvSpPr>
        <p:spPr bwMode="gray">
          <a:xfrm>
            <a:off x="1776418" y="4890318"/>
            <a:ext cx="7487587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864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931849" name="AutoShape 9"/>
          <p:cNvSpPr>
            <a:spLocks noChangeArrowheads="1"/>
          </p:cNvSpPr>
          <p:nvPr/>
        </p:nvSpPr>
        <p:spPr bwMode="gray">
          <a:xfrm>
            <a:off x="1776413" y="4890319"/>
            <a:ext cx="731838" cy="1058049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solidFill>
              <a:schemeClr val="bg1"/>
            </a:solidFill>
          </a:ln>
        </p:spPr>
        <p:txBody>
          <a:bodyPr wrap="none" lIns="82845" tIns="41422" rIns="82845" bIns="41422" anchor="ctr"/>
          <a:lstStyle/>
          <a:p>
            <a:pPr algn="ctr" defTabSz="827088"/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30" name="Text Placeholder 7"/>
          <p:cNvSpPr txBox="1">
            <a:spLocks/>
          </p:cNvSpPr>
          <p:nvPr/>
        </p:nvSpPr>
        <p:spPr bwMode="gray">
          <a:xfrm>
            <a:off x="9264000" y="4890318"/>
            <a:ext cx="1151588" cy="1058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txBody>
          <a:bodyPr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b="0" dirty="0"/>
              <a:t>Date</a:t>
            </a:r>
          </a:p>
        </p:txBody>
      </p:sp>
      <p:sp>
        <p:nvSpPr>
          <p:cNvPr id="2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0229197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131" name="Rectangle 15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324000" y="36000"/>
            <a:ext cx="8892000" cy="792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sequences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6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16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24000" y="900000"/>
            <a:ext cx="11518901" cy="307777"/>
          </a:xfrm>
        </p:spPr>
        <p:txBody>
          <a:bodyPr/>
          <a:lstStyle/>
          <a:p>
            <a:r>
              <a:rPr lang="de-DE" dirty="0"/>
              <a:t>Layout: content_3_boxes_3_lines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1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AT" sz="1400" b="0" dirty="0">
                <a:solidFill>
                  <a:srgbClr val="000000"/>
                </a:solidFill>
              </a:rPr>
              <a:t>Text 2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0"/>
          </p:nvPr>
        </p:nvSpPr>
        <p:spPr>
          <a:solidFill>
            <a:srgbClr val="335182"/>
          </a:solidFill>
        </p:spPr>
        <p:txBody>
          <a:bodyPr/>
          <a:lstStyle/>
          <a:p>
            <a:r>
              <a:rPr lang="de-AT" sz="1600" dirty="0" err="1"/>
              <a:t>Consequence</a:t>
            </a:r>
            <a:endParaRPr lang="de-AT" sz="160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1"/>
          </p:nvPr>
        </p:nvSpPr>
        <p:spPr>
          <a:solidFill>
            <a:srgbClr val="335182"/>
          </a:solidFill>
        </p:spPr>
        <p:txBody>
          <a:bodyPr/>
          <a:lstStyle/>
          <a:p>
            <a:r>
              <a:rPr lang="de-AT" sz="1600" dirty="0" err="1"/>
              <a:t>Consequence</a:t>
            </a:r>
            <a:endParaRPr lang="de-AT" sz="160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42"/>
          </p:nvPr>
        </p:nvSpPr>
        <p:spPr>
          <a:solidFill>
            <a:srgbClr val="335182"/>
          </a:solidFill>
        </p:spPr>
        <p:txBody>
          <a:bodyPr/>
          <a:lstStyle/>
          <a:p>
            <a:r>
              <a:rPr lang="de-AT" sz="1600" dirty="0" err="1"/>
              <a:t>Consequence</a:t>
            </a:r>
            <a:endParaRPr lang="de-AT" sz="1600" dirty="0"/>
          </a:p>
        </p:txBody>
      </p:sp>
      <p:graphicFrame>
        <p:nvGraphicFramePr>
          <p:cNvPr id="944130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2528266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9" name="think-cell Folie" r:id="rId6" imgW="0" imgH="0" progId="TCLayout.ActiveDocument.1">
                  <p:embed/>
                </p:oleObj>
              </mc:Choice>
              <mc:Fallback>
                <p:oleObj name="think-cell Foli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175498396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466" name="Rectangle 31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atrix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7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8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9" name="Text Placeholder 7"/>
          <p:cNvSpPr txBox="1">
            <a:spLocks/>
          </p:cNvSpPr>
          <p:nvPr/>
        </p:nvSpPr>
        <p:spPr>
          <a:xfrm>
            <a:off x="4872000" y="1353659"/>
            <a:ext cx="3784162" cy="28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/>
              <a:t>Content Description</a:t>
            </a:r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gray">
          <a:xfrm>
            <a:off x="1776417" y="2427216"/>
            <a:ext cx="1271587" cy="1073789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noFill/>
          </a:ln>
        </p:spPr>
        <p:txBody>
          <a:bodyPr wrap="square" lIns="82845" tIns="41422" rIns="82845" bIns="41422" anchor="ctr"/>
          <a:lstStyle/>
          <a:p>
            <a:pPr defTabSz="827088"/>
            <a:r>
              <a:rPr lang="de-DE" sz="1600" b="1" dirty="0" err="1">
                <a:solidFill>
                  <a:srgbClr val="FFFFFF"/>
                </a:solidFill>
              </a:rPr>
              <a:t>Subject</a:t>
            </a:r>
            <a:endParaRPr lang="de-DE" sz="1600" b="1" dirty="0">
              <a:solidFill>
                <a:srgbClr val="FFFFFF"/>
              </a:solidFill>
            </a:endParaRPr>
          </a:p>
        </p:txBody>
      </p:sp>
      <p:sp>
        <p:nvSpPr>
          <p:cNvPr id="36" name="AutoShape 3"/>
          <p:cNvSpPr>
            <a:spLocks noChangeArrowheads="1"/>
          </p:cNvSpPr>
          <p:nvPr/>
        </p:nvSpPr>
        <p:spPr bwMode="gray">
          <a:xfrm>
            <a:off x="1776417" y="3650897"/>
            <a:ext cx="1271587" cy="1073789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noFill/>
          </a:ln>
        </p:spPr>
        <p:txBody>
          <a:bodyPr wrap="square" lIns="82845" tIns="41422" rIns="82845" bIns="41422" anchor="ctr"/>
          <a:lstStyle/>
          <a:p>
            <a:pPr defTabSz="827088"/>
            <a:r>
              <a:rPr lang="de-DE" sz="1600" b="1" dirty="0" err="1">
                <a:solidFill>
                  <a:srgbClr val="FFFFFF"/>
                </a:solidFill>
              </a:rPr>
              <a:t>Subject</a:t>
            </a:r>
            <a:endParaRPr lang="de-DE" sz="1600" b="1" dirty="0">
              <a:solidFill>
                <a:srgbClr val="FFFFFF"/>
              </a:solidFill>
            </a:endParaRPr>
          </a:p>
        </p:txBody>
      </p:sp>
      <p:sp>
        <p:nvSpPr>
          <p:cNvPr id="30" name="Text Placeholder 7"/>
          <p:cNvSpPr txBox="1">
            <a:spLocks/>
          </p:cNvSpPr>
          <p:nvPr/>
        </p:nvSpPr>
        <p:spPr>
          <a:xfrm rot="5400000">
            <a:off x="3613948" y="1198855"/>
            <a:ext cx="661989" cy="1638300"/>
          </a:xfrm>
          <a:prstGeom prst="homePlate">
            <a:avLst>
              <a:gd name="adj" fmla="val 27712"/>
            </a:avLst>
          </a:prstGeom>
          <a:solidFill>
            <a:srgbClr val="335182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 err="1">
                <a:solidFill>
                  <a:schemeClr val="bg1"/>
                </a:solidFill>
              </a:rPr>
              <a:t>Subjec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31" name="Text Placeholder 7"/>
          <p:cNvSpPr txBox="1">
            <a:spLocks/>
          </p:cNvSpPr>
          <p:nvPr/>
        </p:nvSpPr>
        <p:spPr bwMode="gray">
          <a:xfrm>
            <a:off x="3125792" y="2427216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5" name="Text Placeholder 7"/>
          <p:cNvSpPr txBox="1">
            <a:spLocks/>
          </p:cNvSpPr>
          <p:nvPr/>
        </p:nvSpPr>
        <p:spPr bwMode="gray">
          <a:xfrm>
            <a:off x="3125792" y="3650897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8" name="Text Placeholder 7"/>
          <p:cNvSpPr txBox="1">
            <a:spLocks/>
          </p:cNvSpPr>
          <p:nvPr/>
        </p:nvSpPr>
        <p:spPr bwMode="gray">
          <a:xfrm>
            <a:off x="3125792" y="4874579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9" name="AutoShape 3"/>
          <p:cNvSpPr>
            <a:spLocks noChangeArrowheads="1"/>
          </p:cNvSpPr>
          <p:nvPr/>
        </p:nvSpPr>
        <p:spPr bwMode="gray">
          <a:xfrm>
            <a:off x="1776417" y="4874579"/>
            <a:ext cx="1271587" cy="1073789"/>
          </a:xfrm>
          <a:prstGeom prst="homePlate">
            <a:avLst>
              <a:gd name="adj" fmla="val 25000"/>
            </a:avLst>
          </a:prstGeom>
          <a:solidFill>
            <a:srgbClr val="68ACE5"/>
          </a:solidFill>
          <a:ln>
            <a:noFill/>
          </a:ln>
        </p:spPr>
        <p:txBody>
          <a:bodyPr wrap="square" lIns="82845" tIns="41422" rIns="82845" bIns="41422" anchor="ctr"/>
          <a:lstStyle/>
          <a:p>
            <a:pPr defTabSz="827088"/>
            <a:r>
              <a:rPr lang="de-DE" sz="1600" b="1" dirty="0" err="1">
                <a:solidFill>
                  <a:srgbClr val="FFFFFF"/>
                </a:solidFill>
              </a:rPr>
              <a:t>Subject</a:t>
            </a:r>
            <a:endParaRPr lang="de-DE" sz="1600" b="1" dirty="0">
              <a:solidFill>
                <a:srgbClr val="FFFFFF"/>
              </a:solidFill>
            </a:endParaRPr>
          </a:p>
        </p:txBody>
      </p:sp>
      <p:sp>
        <p:nvSpPr>
          <p:cNvPr id="42" name="Text Placeholder 7"/>
          <p:cNvSpPr txBox="1">
            <a:spLocks/>
          </p:cNvSpPr>
          <p:nvPr/>
        </p:nvSpPr>
        <p:spPr>
          <a:xfrm rot="5400000">
            <a:off x="5497781" y="1198855"/>
            <a:ext cx="661989" cy="1638300"/>
          </a:xfrm>
          <a:prstGeom prst="homePlate">
            <a:avLst>
              <a:gd name="adj" fmla="val 27712"/>
            </a:avLst>
          </a:prstGeom>
          <a:solidFill>
            <a:srgbClr val="335182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 err="1">
                <a:solidFill>
                  <a:schemeClr val="bg1"/>
                </a:solidFill>
              </a:rPr>
              <a:t>Subjec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43" name="Text Placeholder 7"/>
          <p:cNvSpPr txBox="1">
            <a:spLocks/>
          </p:cNvSpPr>
          <p:nvPr/>
        </p:nvSpPr>
        <p:spPr bwMode="gray">
          <a:xfrm>
            <a:off x="5009625" y="2427216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44" name="Text Placeholder 7"/>
          <p:cNvSpPr txBox="1">
            <a:spLocks/>
          </p:cNvSpPr>
          <p:nvPr/>
        </p:nvSpPr>
        <p:spPr bwMode="gray">
          <a:xfrm>
            <a:off x="5009625" y="3650897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45" name="Text Placeholder 7"/>
          <p:cNvSpPr txBox="1">
            <a:spLocks/>
          </p:cNvSpPr>
          <p:nvPr/>
        </p:nvSpPr>
        <p:spPr bwMode="gray">
          <a:xfrm>
            <a:off x="5009625" y="4874579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47" name="Text Placeholder 7"/>
          <p:cNvSpPr txBox="1">
            <a:spLocks/>
          </p:cNvSpPr>
          <p:nvPr/>
        </p:nvSpPr>
        <p:spPr>
          <a:xfrm rot="5400000">
            <a:off x="7381614" y="1198855"/>
            <a:ext cx="661989" cy="1638300"/>
          </a:xfrm>
          <a:prstGeom prst="homePlate">
            <a:avLst>
              <a:gd name="adj" fmla="val 27712"/>
            </a:avLst>
          </a:prstGeom>
          <a:solidFill>
            <a:srgbClr val="335182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 err="1">
                <a:solidFill>
                  <a:schemeClr val="bg1"/>
                </a:solidFill>
              </a:rPr>
              <a:t>Subjec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48" name="Text Placeholder 7"/>
          <p:cNvSpPr txBox="1">
            <a:spLocks/>
          </p:cNvSpPr>
          <p:nvPr/>
        </p:nvSpPr>
        <p:spPr bwMode="gray">
          <a:xfrm>
            <a:off x="6893458" y="2427216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49" name="Text Placeholder 7"/>
          <p:cNvSpPr txBox="1">
            <a:spLocks/>
          </p:cNvSpPr>
          <p:nvPr/>
        </p:nvSpPr>
        <p:spPr bwMode="gray">
          <a:xfrm>
            <a:off x="6893458" y="3650897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50" name="Text Placeholder 7"/>
          <p:cNvSpPr txBox="1">
            <a:spLocks/>
          </p:cNvSpPr>
          <p:nvPr/>
        </p:nvSpPr>
        <p:spPr bwMode="gray">
          <a:xfrm>
            <a:off x="6893458" y="4874579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52" name="Text Placeholder 7"/>
          <p:cNvSpPr txBox="1">
            <a:spLocks/>
          </p:cNvSpPr>
          <p:nvPr/>
        </p:nvSpPr>
        <p:spPr>
          <a:xfrm rot="5400000">
            <a:off x="9265448" y="1198855"/>
            <a:ext cx="661989" cy="1638300"/>
          </a:xfrm>
          <a:prstGeom prst="homePlate">
            <a:avLst>
              <a:gd name="adj" fmla="val 27712"/>
            </a:avLst>
          </a:prstGeom>
          <a:solidFill>
            <a:srgbClr val="335182"/>
          </a:solidFill>
          <a:ln w="12700">
            <a:noFill/>
          </a:ln>
          <a:effectLst/>
        </p:spPr>
        <p:txBody>
          <a:bodyPr vert="vert270" wrap="square" lIns="72000" tIns="72000" rIns="72000" bIns="72000" anchor="ctr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600" dirty="0" err="1">
                <a:solidFill>
                  <a:schemeClr val="bg1"/>
                </a:solidFill>
              </a:rPr>
              <a:t>Subjec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53" name="Text Placeholder 7"/>
          <p:cNvSpPr txBox="1">
            <a:spLocks/>
          </p:cNvSpPr>
          <p:nvPr/>
        </p:nvSpPr>
        <p:spPr bwMode="gray">
          <a:xfrm>
            <a:off x="8777292" y="2427216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54" name="Text Placeholder 7"/>
          <p:cNvSpPr txBox="1">
            <a:spLocks/>
          </p:cNvSpPr>
          <p:nvPr/>
        </p:nvSpPr>
        <p:spPr bwMode="gray">
          <a:xfrm>
            <a:off x="8777292" y="3650897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55" name="Text Placeholder 7"/>
          <p:cNvSpPr txBox="1">
            <a:spLocks/>
          </p:cNvSpPr>
          <p:nvPr/>
        </p:nvSpPr>
        <p:spPr bwMode="gray">
          <a:xfrm>
            <a:off x="8777292" y="4874579"/>
            <a:ext cx="1638301" cy="1073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72000" tIns="72000" rIns="72000" bIns="72000" anchor="t" anchorCtr="0"/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Text 1</a:t>
            </a:r>
          </a:p>
          <a:p>
            <a:pPr lvl="2"/>
            <a:r>
              <a:rPr lang="de-DE" sz="1400" dirty="0"/>
              <a:t>Text 2</a:t>
            </a:r>
          </a:p>
        </p:txBody>
      </p:sp>
      <p:sp>
        <p:nvSpPr>
          <p:cNvPr id="3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310758416"/>
      </p:ext>
    </p:extLst>
  </p:cSld>
  <p:clrMapOvr>
    <a:masterClrMapping/>
  </p:clrMapOvr>
  <p:transition spd="slow">
    <p:push dir="u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559895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hteck 75"/>
          <p:cNvSpPr/>
          <p:nvPr/>
        </p:nvSpPr>
        <p:spPr>
          <a:xfrm>
            <a:off x="4294637" y="1797804"/>
            <a:ext cx="3554415" cy="8693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b="1" dirty="0"/>
          </a:p>
        </p:txBody>
      </p:sp>
      <p:sp>
        <p:nvSpPr>
          <p:cNvPr id="974869" name="Rectangle 30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Project Organizatio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8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2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35" name="Text Placeholder 7"/>
          <p:cNvSpPr txBox="1">
            <a:spLocks/>
          </p:cNvSpPr>
          <p:nvPr/>
        </p:nvSpPr>
        <p:spPr bwMode="gray">
          <a:xfrm>
            <a:off x="4294633" y="1773589"/>
            <a:ext cx="1781622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sp>
        <p:nvSpPr>
          <p:cNvPr id="36" name="Text Placeholder 7"/>
          <p:cNvSpPr txBox="1">
            <a:spLocks/>
          </p:cNvSpPr>
          <p:nvPr/>
        </p:nvSpPr>
        <p:spPr bwMode="gray">
          <a:xfrm>
            <a:off x="6067425" y="1773589"/>
            <a:ext cx="1781622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cxnSp>
        <p:nvCxnSpPr>
          <p:cNvPr id="10" name="Gerade Verbindung 9"/>
          <p:cNvCxnSpPr>
            <a:stCxn id="24" idx="2"/>
            <a:endCxn id="76" idx="2"/>
          </p:cNvCxnSpPr>
          <p:nvPr/>
        </p:nvCxnSpPr>
        <p:spPr>
          <a:xfrm>
            <a:off x="6071840" y="1797808"/>
            <a:ext cx="0" cy="86937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>
            <a:stCxn id="76" idx="2"/>
            <a:endCxn id="83" idx="0"/>
          </p:cNvCxnSpPr>
          <p:nvPr/>
        </p:nvCxnSpPr>
        <p:spPr>
          <a:xfrm>
            <a:off x="6071840" y="2667180"/>
            <a:ext cx="0" cy="23869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>
          <a:xfrm>
            <a:off x="4294637" y="1413005"/>
            <a:ext cx="3554415" cy="384803"/>
          </a:xfrm>
          <a:prstGeom prst="rect">
            <a:avLst/>
          </a:prstGeom>
          <a:solidFill>
            <a:srgbClr val="68ACE5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/>
              <a:t>Text</a:t>
            </a:r>
          </a:p>
        </p:txBody>
      </p:sp>
      <p:sp>
        <p:nvSpPr>
          <p:cNvPr id="79" name="Rechteck 78"/>
          <p:cNvSpPr/>
          <p:nvPr/>
        </p:nvSpPr>
        <p:spPr>
          <a:xfrm>
            <a:off x="4294637" y="3290674"/>
            <a:ext cx="3554415" cy="8693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b="1" dirty="0"/>
          </a:p>
        </p:txBody>
      </p:sp>
      <p:sp>
        <p:nvSpPr>
          <p:cNvPr id="80" name="Text Placeholder 7"/>
          <p:cNvSpPr txBox="1">
            <a:spLocks/>
          </p:cNvSpPr>
          <p:nvPr/>
        </p:nvSpPr>
        <p:spPr bwMode="gray">
          <a:xfrm>
            <a:off x="4294633" y="3266459"/>
            <a:ext cx="1781622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sp>
        <p:nvSpPr>
          <p:cNvPr id="81" name="Text Placeholder 7"/>
          <p:cNvSpPr txBox="1">
            <a:spLocks/>
          </p:cNvSpPr>
          <p:nvPr/>
        </p:nvSpPr>
        <p:spPr bwMode="gray">
          <a:xfrm>
            <a:off x="6067425" y="3266459"/>
            <a:ext cx="1781622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cxnSp>
        <p:nvCxnSpPr>
          <p:cNvPr id="82" name="Gerade Verbindung 81"/>
          <p:cNvCxnSpPr>
            <a:stCxn id="83" idx="2"/>
            <a:endCxn id="79" idx="2"/>
          </p:cNvCxnSpPr>
          <p:nvPr/>
        </p:nvCxnSpPr>
        <p:spPr>
          <a:xfrm>
            <a:off x="6071840" y="3290678"/>
            <a:ext cx="0" cy="86937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4294637" y="2905875"/>
            <a:ext cx="3554415" cy="384803"/>
          </a:xfrm>
          <a:prstGeom prst="rect">
            <a:avLst/>
          </a:prstGeom>
          <a:solidFill>
            <a:srgbClr val="68ACE5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/>
              <a:t>Text</a:t>
            </a:r>
          </a:p>
        </p:txBody>
      </p:sp>
      <p:sp>
        <p:nvSpPr>
          <p:cNvPr id="58" name="Text Placeholder 7"/>
          <p:cNvSpPr txBox="1">
            <a:spLocks/>
          </p:cNvSpPr>
          <p:nvPr/>
        </p:nvSpPr>
        <p:spPr bwMode="gray">
          <a:xfrm>
            <a:off x="1776413" y="5066632"/>
            <a:ext cx="1993898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1776417" y="4647954"/>
            <a:ext cx="1993899" cy="3848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94" name="Text Placeholder 7"/>
          <p:cNvSpPr txBox="1">
            <a:spLocks/>
          </p:cNvSpPr>
          <p:nvPr/>
        </p:nvSpPr>
        <p:spPr bwMode="gray">
          <a:xfrm>
            <a:off x="3991505" y="5066632"/>
            <a:ext cx="1993898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91509" y="4647954"/>
            <a:ext cx="1993899" cy="3848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97" name="Text Placeholder 7"/>
          <p:cNvSpPr txBox="1">
            <a:spLocks/>
          </p:cNvSpPr>
          <p:nvPr/>
        </p:nvSpPr>
        <p:spPr bwMode="gray">
          <a:xfrm>
            <a:off x="6206597" y="5066632"/>
            <a:ext cx="1993898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6206601" y="4647954"/>
            <a:ext cx="1993899" cy="3848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00" name="Text Placeholder 7"/>
          <p:cNvSpPr txBox="1">
            <a:spLocks/>
          </p:cNvSpPr>
          <p:nvPr/>
        </p:nvSpPr>
        <p:spPr bwMode="gray">
          <a:xfrm>
            <a:off x="8421690" y="5066632"/>
            <a:ext cx="1993898" cy="36085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72000" tIns="72000" rIns="72000" bIns="72000" anchor="t" anchorCtr="0">
            <a:sp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400" dirty="0"/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8421694" y="4647954"/>
            <a:ext cx="1993899" cy="3848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Text</a:t>
            </a:r>
          </a:p>
        </p:txBody>
      </p:sp>
      <p:cxnSp>
        <p:nvCxnSpPr>
          <p:cNvPr id="974870" name="Gewinkelte Verbindung 974869"/>
          <p:cNvCxnSpPr>
            <a:stCxn id="89" idx="0"/>
            <a:endCxn id="79" idx="2"/>
          </p:cNvCxnSpPr>
          <p:nvPr/>
        </p:nvCxnSpPr>
        <p:spPr>
          <a:xfrm rot="5400000" flipH="1" flipV="1">
            <a:off x="4178657" y="2754761"/>
            <a:ext cx="487899" cy="3298478"/>
          </a:xfrm>
          <a:prstGeom prst="bentConnector3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winkelte Verbindung 32"/>
          <p:cNvCxnSpPr>
            <a:stCxn id="95" idx="0"/>
            <a:endCxn id="79" idx="2"/>
          </p:cNvCxnSpPr>
          <p:nvPr/>
        </p:nvCxnSpPr>
        <p:spPr>
          <a:xfrm rot="5400000" flipH="1" flipV="1">
            <a:off x="5286203" y="3862307"/>
            <a:ext cx="487899" cy="1083386"/>
          </a:xfrm>
          <a:prstGeom prst="bentConnector3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 Verbindung 41"/>
          <p:cNvCxnSpPr>
            <a:stCxn id="98" idx="0"/>
            <a:endCxn id="79" idx="2"/>
          </p:cNvCxnSpPr>
          <p:nvPr/>
        </p:nvCxnSpPr>
        <p:spPr>
          <a:xfrm rot="16200000" flipV="1">
            <a:off x="6393749" y="3838147"/>
            <a:ext cx="487899" cy="1131706"/>
          </a:xfrm>
          <a:prstGeom prst="bentConnector3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 Verbindung 43"/>
          <p:cNvCxnSpPr>
            <a:stCxn id="101" idx="0"/>
            <a:endCxn id="79" idx="2"/>
          </p:cNvCxnSpPr>
          <p:nvPr/>
        </p:nvCxnSpPr>
        <p:spPr>
          <a:xfrm rot="16200000" flipV="1">
            <a:off x="7501296" y="2730605"/>
            <a:ext cx="487899" cy="3346799"/>
          </a:xfrm>
          <a:prstGeom prst="bentConnector3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69749820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isclaim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8976000" y="4869000"/>
            <a:ext cx="1440000" cy="720000"/>
          </a:xfrm>
        </p:spPr>
        <p:txBody>
          <a:bodyPr/>
          <a:lstStyle/>
          <a:p>
            <a:endParaRPr lang="de-DE"/>
          </a:p>
        </p:txBody>
      </p:sp>
      <p:grpSp>
        <p:nvGrpSpPr>
          <p:cNvPr id="4" name="Gruppieren 3"/>
          <p:cNvGrpSpPr/>
          <p:nvPr/>
        </p:nvGrpSpPr>
        <p:grpSpPr>
          <a:xfrm>
            <a:off x="2496000" y="1773000"/>
            <a:ext cx="7919588" cy="3960000"/>
            <a:chOff x="972000" y="1773000"/>
            <a:chExt cx="7919588" cy="3960000"/>
          </a:xfrm>
        </p:grpSpPr>
        <p:sp>
          <p:nvSpPr>
            <p:cNvPr id="17" name="Text Placeholder 7"/>
            <p:cNvSpPr txBox="1">
              <a:spLocks/>
            </p:cNvSpPr>
            <p:nvPr/>
          </p:nvSpPr>
          <p:spPr>
            <a:xfrm>
              <a:off x="972000" y="1773000"/>
              <a:ext cx="7919588" cy="3960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/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endParaRPr lang="de-DE" dirty="0"/>
            </a:p>
          </p:txBody>
        </p:sp>
        <p:sp>
          <p:nvSpPr>
            <p:cNvPr id="14" name="Text Placeholder 9"/>
            <p:cNvSpPr txBox="1">
              <a:spLocks/>
            </p:cNvSpPr>
            <p:nvPr/>
          </p:nvSpPr>
          <p:spPr>
            <a:xfrm>
              <a:off x="1260000" y="2565000"/>
              <a:ext cx="4248000" cy="3096000"/>
            </a:xfrm>
            <a:prstGeom prst="rect">
              <a:avLst/>
            </a:prstGeom>
            <a:noFill/>
            <a:ln w="9525">
              <a:noFill/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prstDash val="solid"/>
                </a14:hiddenLine>
              </a:ext>
            </a:extLst>
          </p:spPr>
          <p:txBody>
            <a:bodyPr vert="horz" wrap="square" lIns="0" tIns="0" rIns="0" bIns="0" rtlCol="0" anchor="t">
              <a:no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Dieses Werk </a:t>
              </a:r>
              <a:r>
                <a:rPr lang="de-DE" sz="1200" b="0" dirty="0" err="1">
                  <a:solidFill>
                    <a:srgbClr val="000000"/>
                  </a:solidFill>
                  <a:latin typeface="Arial Narrow" panose="020B0606020202030204" pitchFamily="34" charset="0"/>
                </a:rPr>
                <a:t>einschliesslich</a:t>
              </a:r>
              <a:r>
                <a:rPr lang="de-DE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 aller seiner Teile ist urheberrechtlich geschützt.</a:t>
              </a:r>
            </a:p>
            <a:p>
              <a:r>
                <a:rPr lang="de-DE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Jede Verwertung, die nicht ausdrücklich vom Urheberrechtsgesetz zugelassen ist, bedarf der vorherigen schriftlichen Zustimmung von </a:t>
              </a:r>
              <a:r>
                <a:rPr lang="de-DE" sz="1200" b="0" dirty="0" err="1">
                  <a:solidFill>
                    <a:srgbClr val="000000"/>
                  </a:solidFill>
                  <a:latin typeface="Arial Narrow" panose="020B0606020202030204" pitchFamily="34" charset="0"/>
                </a:rPr>
                <a:t>Axxiome</a:t>
              </a:r>
              <a:r>
                <a:rPr lang="de-DE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 Group.</a:t>
              </a:r>
            </a:p>
            <a:p>
              <a:r>
                <a:rPr lang="de-DE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Das gilt insbesondere für Vervielfältigungen, Bearbeitungen, Übersetzungen und die Einspeicherung und Verarbeitung in elektronischer Form. Eine Weitergabe an Dritte ist nicht gestattet.</a:t>
              </a:r>
            </a:p>
            <a:p>
              <a:endParaRPr lang="de-DE" sz="1200" b="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  <a:p>
              <a:r>
                <a:rPr lang="en-US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This work including all its parts is protected by copyright.</a:t>
              </a:r>
              <a:endParaRPr lang="de-DE" sz="1200" b="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  <a:p>
              <a:r>
                <a:rPr lang="en-US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No part of this publication may be reproduced or transmitted in any form or for any purpose without the express permission of </a:t>
              </a:r>
              <a:r>
                <a:rPr lang="en-US" sz="1200" b="0" dirty="0" err="1">
                  <a:solidFill>
                    <a:srgbClr val="000000"/>
                  </a:solidFill>
                  <a:latin typeface="Arial Narrow" panose="020B0606020202030204" pitchFamily="34" charset="0"/>
                </a:rPr>
                <a:t>Axxiome</a:t>
              </a:r>
              <a:r>
                <a:rPr lang="en-US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 Group.</a:t>
              </a:r>
            </a:p>
            <a:p>
              <a:r>
                <a:rPr lang="en-US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This applies in particular to reproductions, adaptations, translations, storage and processing in electronic form. Disclosure to third parties is prohibited.</a:t>
              </a:r>
            </a:p>
            <a:p>
              <a:endParaRPr lang="en-US" sz="1200" b="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  <a:p>
              <a:r>
                <a:rPr lang="en-US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© </a:t>
              </a:r>
              <a:r>
                <a:rPr lang="en-US" sz="1200" b="0" dirty="0" err="1">
                  <a:solidFill>
                    <a:srgbClr val="000000"/>
                  </a:solidFill>
                  <a:latin typeface="Arial Narrow" panose="020B0606020202030204" pitchFamily="34" charset="0"/>
                </a:rPr>
                <a:t>Axxiome</a:t>
              </a:r>
              <a:r>
                <a:rPr lang="en-US" sz="1200" b="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 Group. All rights reserved.</a:t>
              </a:r>
              <a:endParaRPr lang="de-DE" sz="1200" b="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1026" name="Picture 2" descr="Rechtsanwalt Verteidiger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6500" y="2731500"/>
              <a:ext cx="2857500" cy="2857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8" name="Straight Connector 17"/>
            <p:cNvCxnSpPr/>
            <p:nvPr/>
          </p:nvCxnSpPr>
          <p:spPr>
            <a:xfrm>
              <a:off x="1260000" y="2421000"/>
              <a:ext cx="4176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 Placeholder 9"/>
            <p:cNvSpPr txBox="1">
              <a:spLocks/>
            </p:cNvSpPr>
            <p:nvPr/>
          </p:nvSpPr>
          <p:spPr>
            <a:xfrm>
              <a:off x="1260000" y="2061000"/>
              <a:ext cx="4176000" cy="288000"/>
            </a:xfrm>
            <a:prstGeom prst="rect">
              <a:avLst/>
            </a:prstGeom>
            <a:noFill/>
            <a:ln w="9525">
              <a:noFill/>
              <a:prstDash val="solid"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© 2016 </a:t>
              </a:r>
              <a:r>
                <a:rPr lang="de-DE" dirty="0" err="1">
                  <a:solidFill>
                    <a:schemeClr val="tx2"/>
                  </a:solidFill>
                  <a:latin typeface="Arial Narrow" panose="020B0606020202030204" pitchFamily="34" charset="0"/>
                </a:rPr>
                <a:t>Axxiome</a:t>
              </a:r>
              <a:r>
                <a:rPr lang="de-DE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 Group</a:t>
              </a:r>
              <a:endParaRPr lang="de-DE" sz="1400" dirty="0">
                <a:solidFill>
                  <a:schemeClr val="tx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679110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99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Organization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>
              <a:defRPr/>
            </a:pPr>
            <a:fld id="{A18A2BF0-F136-49D6-9B40-776FB765DE41}" type="slidenum">
              <a:rPr lang="en-US" smtClean="0">
                <a:solidFill>
                  <a:srgbClr val="4C575F"/>
                </a:solidFill>
              </a:rPr>
              <a:pPr>
                <a:defRPr/>
              </a:pPr>
              <a:t>49</a:t>
            </a:fld>
            <a:endParaRPr lang="en-US" dirty="0">
              <a:solidFill>
                <a:srgbClr val="4C575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58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980998" name="Rectangle 3"/>
          <p:cNvSpPr>
            <a:spLocks noChangeArrowheads="1"/>
          </p:cNvSpPr>
          <p:nvPr/>
        </p:nvSpPr>
        <p:spPr bwMode="gray">
          <a:xfrm>
            <a:off x="1858968" y="3157237"/>
            <a:ext cx="1550987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0999" name="Rectangle 4"/>
          <p:cNvSpPr>
            <a:spLocks noChangeArrowheads="1"/>
          </p:cNvSpPr>
          <p:nvPr/>
        </p:nvSpPr>
        <p:spPr bwMode="gray">
          <a:xfrm>
            <a:off x="2844805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00" name="Rectangle 5"/>
          <p:cNvSpPr>
            <a:spLocks noChangeArrowheads="1"/>
          </p:cNvSpPr>
          <p:nvPr/>
        </p:nvSpPr>
        <p:spPr bwMode="gray">
          <a:xfrm>
            <a:off x="3127380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01" name="Rectangle 6"/>
          <p:cNvSpPr>
            <a:spLocks noChangeArrowheads="1"/>
          </p:cNvSpPr>
          <p:nvPr/>
        </p:nvSpPr>
        <p:spPr bwMode="gray">
          <a:xfrm>
            <a:off x="1858968" y="2781005"/>
            <a:ext cx="1550987" cy="3762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02" name="Rectangle 7"/>
          <p:cNvSpPr>
            <a:spLocks noChangeArrowheads="1"/>
          </p:cNvSpPr>
          <p:nvPr/>
        </p:nvSpPr>
        <p:spPr bwMode="gray">
          <a:xfrm>
            <a:off x="1946280" y="3800180"/>
            <a:ext cx="14636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03" name="Rectangle 8"/>
          <p:cNvSpPr>
            <a:spLocks noChangeArrowheads="1"/>
          </p:cNvSpPr>
          <p:nvPr/>
        </p:nvSpPr>
        <p:spPr bwMode="gray">
          <a:xfrm>
            <a:off x="2844805" y="3800180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04" name="Rectangle 9"/>
          <p:cNvSpPr>
            <a:spLocks noChangeArrowheads="1"/>
          </p:cNvSpPr>
          <p:nvPr/>
        </p:nvSpPr>
        <p:spPr bwMode="gray">
          <a:xfrm>
            <a:off x="3127380" y="3800180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05" name="Rectangle 10"/>
          <p:cNvSpPr>
            <a:spLocks noChangeArrowheads="1"/>
          </p:cNvSpPr>
          <p:nvPr/>
        </p:nvSpPr>
        <p:spPr bwMode="gray">
          <a:xfrm>
            <a:off x="1946280" y="3425525"/>
            <a:ext cx="1463675" cy="3746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06" name="Line 11"/>
          <p:cNvSpPr>
            <a:spLocks noChangeShapeType="1"/>
          </p:cNvSpPr>
          <p:nvPr/>
        </p:nvSpPr>
        <p:spPr bwMode="gray">
          <a:xfrm>
            <a:off x="1858963" y="371445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07" name="Group 12"/>
          <p:cNvGrpSpPr>
            <a:grpSpLocks/>
          </p:cNvGrpSpPr>
          <p:nvPr/>
        </p:nvGrpSpPr>
        <p:grpSpPr bwMode="auto">
          <a:xfrm>
            <a:off x="1946280" y="4070055"/>
            <a:ext cx="1463675" cy="579437"/>
            <a:chOff x="461" y="2858"/>
            <a:chExt cx="928" cy="368"/>
          </a:xfrm>
        </p:grpSpPr>
        <p:sp>
          <p:nvSpPr>
            <p:cNvPr id="981008" name="Rectangle 13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09" name="Rectangle 14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10" name="Rectangle 15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11" name="Rectangle 16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12" name="Line 17"/>
          <p:cNvSpPr>
            <a:spLocks noChangeShapeType="1"/>
          </p:cNvSpPr>
          <p:nvPr/>
        </p:nvSpPr>
        <p:spPr bwMode="gray">
          <a:xfrm>
            <a:off x="1858963" y="4360562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13" name="Group 18"/>
          <p:cNvGrpSpPr>
            <a:grpSpLocks/>
          </p:cNvGrpSpPr>
          <p:nvPr/>
        </p:nvGrpSpPr>
        <p:grpSpPr bwMode="auto">
          <a:xfrm>
            <a:off x="1946280" y="4712992"/>
            <a:ext cx="1463675" cy="581025"/>
            <a:chOff x="461" y="2858"/>
            <a:chExt cx="928" cy="368"/>
          </a:xfrm>
        </p:grpSpPr>
        <p:sp>
          <p:nvSpPr>
            <p:cNvPr id="981014" name="Rectangle 19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15" name="Rectangle 20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16" name="Rectangle 21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17" name="Rectangle 22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18" name="Line 23"/>
          <p:cNvSpPr>
            <a:spLocks noChangeShapeType="1"/>
          </p:cNvSpPr>
          <p:nvPr/>
        </p:nvSpPr>
        <p:spPr bwMode="gray">
          <a:xfrm>
            <a:off x="1858963" y="500350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19" name="Group 24"/>
          <p:cNvGrpSpPr>
            <a:grpSpLocks/>
          </p:cNvGrpSpPr>
          <p:nvPr/>
        </p:nvGrpSpPr>
        <p:grpSpPr bwMode="auto">
          <a:xfrm>
            <a:off x="1946280" y="5357517"/>
            <a:ext cx="1463675" cy="581025"/>
            <a:chOff x="461" y="2858"/>
            <a:chExt cx="928" cy="368"/>
          </a:xfrm>
        </p:grpSpPr>
        <p:sp>
          <p:nvSpPr>
            <p:cNvPr id="981020" name="Rectangle 25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21" name="Rectangle 26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22" name="Rectangle 27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23" name="Rectangle 28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24" name="Line 29"/>
          <p:cNvSpPr>
            <a:spLocks noChangeShapeType="1"/>
          </p:cNvSpPr>
          <p:nvPr/>
        </p:nvSpPr>
        <p:spPr bwMode="gray">
          <a:xfrm>
            <a:off x="1858963" y="5648025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25" name="Line 30"/>
          <p:cNvSpPr>
            <a:spLocks noChangeShapeType="1"/>
          </p:cNvSpPr>
          <p:nvPr/>
        </p:nvSpPr>
        <p:spPr bwMode="gray">
          <a:xfrm>
            <a:off x="1858963" y="3362025"/>
            <a:ext cx="0" cy="228600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26" name="Rectangle 31"/>
          <p:cNvSpPr>
            <a:spLocks noChangeArrowheads="1"/>
          </p:cNvSpPr>
          <p:nvPr/>
        </p:nvSpPr>
        <p:spPr bwMode="gray">
          <a:xfrm>
            <a:off x="3608388" y="3157237"/>
            <a:ext cx="1554162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27" name="Rectangle 32"/>
          <p:cNvSpPr>
            <a:spLocks noChangeArrowheads="1"/>
          </p:cNvSpPr>
          <p:nvPr/>
        </p:nvSpPr>
        <p:spPr bwMode="gray">
          <a:xfrm>
            <a:off x="4595813" y="3157237"/>
            <a:ext cx="284162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28" name="Rectangle 33"/>
          <p:cNvSpPr>
            <a:spLocks noChangeArrowheads="1"/>
          </p:cNvSpPr>
          <p:nvPr/>
        </p:nvSpPr>
        <p:spPr bwMode="gray">
          <a:xfrm>
            <a:off x="4879980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29" name="Rectangle 34"/>
          <p:cNvSpPr>
            <a:spLocks noChangeArrowheads="1"/>
          </p:cNvSpPr>
          <p:nvPr/>
        </p:nvSpPr>
        <p:spPr bwMode="gray">
          <a:xfrm>
            <a:off x="3608388" y="2781005"/>
            <a:ext cx="1554162" cy="3762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grpSp>
        <p:nvGrpSpPr>
          <p:cNvPr id="981030" name="Group 35"/>
          <p:cNvGrpSpPr>
            <a:grpSpLocks/>
          </p:cNvGrpSpPr>
          <p:nvPr/>
        </p:nvGrpSpPr>
        <p:grpSpPr bwMode="auto">
          <a:xfrm>
            <a:off x="3695700" y="3425530"/>
            <a:ext cx="1466850" cy="579437"/>
            <a:chOff x="461" y="2858"/>
            <a:chExt cx="928" cy="368"/>
          </a:xfrm>
        </p:grpSpPr>
        <p:sp>
          <p:nvSpPr>
            <p:cNvPr id="981031" name="Rectangle 36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32" name="Rectangle 37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33" name="Rectangle 38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34" name="Rectangle 39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35" name="Line 40"/>
          <p:cNvSpPr>
            <a:spLocks noChangeShapeType="1"/>
          </p:cNvSpPr>
          <p:nvPr/>
        </p:nvSpPr>
        <p:spPr bwMode="gray">
          <a:xfrm>
            <a:off x="3608388" y="371445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36" name="Group 41"/>
          <p:cNvGrpSpPr>
            <a:grpSpLocks/>
          </p:cNvGrpSpPr>
          <p:nvPr/>
        </p:nvGrpSpPr>
        <p:grpSpPr bwMode="auto">
          <a:xfrm>
            <a:off x="3695700" y="4070055"/>
            <a:ext cx="1466850" cy="579437"/>
            <a:chOff x="461" y="2858"/>
            <a:chExt cx="928" cy="368"/>
          </a:xfrm>
        </p:grpSpPr>
        <p:sp>
          <p:nvSpPr>
            <p:cNvPr id="981037" name="Rectangle 42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38" name="Rectangle 43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39" name="Rectangle 44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40" name="Rectangle 45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41" name="Line 46"/>
          <p:cNvSpPr>
            <a:spLocks noChangeShapeType="1"/>
          </p:cNvSpPr>
          <p:nvPr/>
        </p:nvSpPr>
        <p:spPr bwMode="gray">
          <a:xfrm>
            <a:off x="3608388" y="4360562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42" name="Group 47"/>
          <p:cNvGrpSpPr>
            <a:grpSpLocks/>
          </p:cNvGrpSpPr>
          <p:nvPr/>
        </p:nvGrpSpPr>
        <p:grpSpPr bwMode="auto">
          <a:xfrm>
            <a:off x="3695700" y="4712992"/>
            <a:ext cx="1466850" cy="581025"/>
            <a:chOff x="461" y="2858"/>
            <a:chExt cx="928" cy="368"/>
          </a:xfrm>
        </p:grpSpPr>
        <p:sp>
          <p:nvSpPr>
            <p:cNvPr id="981043" name="Rectangle 48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44" name="Rectangle 49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45" name="Rectangle 50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46" name="Rectangle 51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47" name="Line 52"/>
          <p:cNvSpPr>
            <a:spLocks noChangeShapeType="1"/>
          </p:cNvSpPr>
          <p:nvPr/>
        </p:nvSpPr>
        <p:spPr bwMode="gray">
          <a:xfrm>
            <a:off x="3608388" y="500350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48" name="Group 53"/>
          <p:cNvGrpSpPr>
            <a:grpSpLocks/>
          </p:cNvGrpSpPr>
          <p:nvPr/>
        </p:nvGrpSpPr>
        <p:grpSpPr bwMode="auto">
          <a:xfrm>
            <a:off x="3695700" y="5357517"/>
            <a:ext cx="1466850" cy="581025"/>
            <a:chOff x="461" y="2858"/>
            <a:chExt cx="928" cy="368"/>
          </a:xfrm>
        </p:grpSpPr>
        <p:sp>
          <p:nvSpPr>
            <p:cNvPr id="981049" name="Rectangle 54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50" name="Rectangle 55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51" name="Rectangle 56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52" name="Rectangle 57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53" name="Line 58"/>
          <p:cNvSpPr>
            <a:spLocks noChangeShapeType="1"/>
          </p:cNvSpPr>
          <p:nvPr/>
        </p:nvSpPr>
        <p:spPr bwMode="gray">
          <a:xfrm>
            <a:off x="3608388" y="5648025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54" name="Line 59"/>
          <p:cNvSpPr>
            <a:spLocks noChangeShapeType="1"/>
          </p:cNvSpPr>
          <p:nvPr/>
        </p:nvSpPr>
        <p:spPr bwMode="gray">
          <a:xfrm>
            <a:off x="3608388" y="3362025"/>
            <a:ext cx="0" cy="228600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55" name="Rectangle 60"/>
          <p:cNvSpPr>
            <a:spLocks noChangeArrowheads="1"/>
          </p:cNvSpPr>
          <p:nvPr/>
        </p:nvSpPr>
        <p:spPr bwMode="gray">
          <a:xfrm>
            <a:off x="5360993" y="3157237"/>
            <a:ext cx="1550987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56" name="Rectangle 61"/>
          <p:cNvSpPr>
            <a:spLocks noChangeArrowheads="1"/>
          </p:cNvSpPr>
          <p:nvPr/>
        </p:nvSpPr>
        <p:spPr bwMode="gray">
          <a:xfrm>
            <a:off x="6346830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57" name="Rectangle 62"/>
          <p:cNvSpPr>
            <a:spLocks noChangeArrowheads="1"/>
          </p:cNvSpPr>
          <p:nvPr/>
        </p:nvSpPr>
        <p:spPr bwMode="gray">
          <a:xfrm>
            <a:off x="6629405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58" name="Rectangle 63"/>
          <p:cNvSpPr>
            <a:spLocks noChangeArrowheads="1"/>
          </p:cNvSpPr>
          <p:nvPr/>
        </p:nvSpPr>
        <p:spPr bwMode="gray">
          <a:xfrm>
            <a:off x="5360993" y="2781005"/>
            <a:ext cx="1550987" cy="3762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59" name="Rectangle 64"/>
          <p:cNvSpPr>
            <a:spLocks noChangeArrowheads="1"/>
          </p:cNvSpPr>
          <p:nvPr/>
        </p:nvSpPr>
        <p:spPr bwMode="gray">
          <a:xfrm>
            <a:off x="5446713" y="3800180"/>
            <a:ext cx="1465262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60" name="Rectangle 65"/>
          <p:cNvSpPr>
            <a:spLocks noChangeArrowheads="1"/>
          </p:cNvSpPr>
          <p:nvPr/>
        </p:nvSpPr>
        <p:spPr bwMode="gray">
          <a:xfrm>
            <a:off x="6346830" y="3800180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61" name="Rectangle 66"/>
          <p:cNvSpPr>
            <a:spLocks noChangeArrowheads="1"/>
          </p:cNvSpPr>
          <p:nvPr/>
        </p:nvSpPr>
        <p:spPr bwMode="gray">
          <a:xfrm>
            <a:off x="6629405" y="3800180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62" name="Rectangle 67"/>
          <p:cNvSpPr>
            <a:spLocks noChangeArrowheads="1"/>
          </p:cNvSpPr>
          <p:nvPr/>
        </p:nvSpPr>
        <p:spPr bwMode="gray">
          <a:xfrm>
            <a:off x="5446713" y="3425525"/>
            <a:ext cx="1465262" cy="3746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63" name="Line 68"/>
          <p:cNvSpPr>
            <a:spLocks noChangeShapeType="1"/>
          </p:cNvSpPr>
          <p:nvPr/>
        </p:nvSpPr>
        <p:spPr bwMode="gray">
          <a:xfrm>
            <a:off x="5360993" y="3714450"/>
            <a:ext cx="85725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64" name="Rectangle 69"/>
          <p:cNvSpPr>
            <a:spLocks noChangeArrowheads="1"/>
          </p:cNvSpPr>
          <p:nvPr/>
        </p:nvSpPr>
        <p:spPr bwMode="gray">
          <a:xfrm>
            <a:off x="5446713" y="4444705"/>
            <a:ext cx="1465262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65" name="Rectangle 70"/>
          <p:cNvSpPr>
            <a:spLocks noChangeArrowheads="1"/>
          </p:cNvSpPr>
          <p:nvPr/>
        </p:nvSpPr>
        <p:spPr bwMode="gray">
          <a:xfrm>
            <a:off x="6346830" y="4444705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66" name="Rectangle 71"/>
          <p:cNvSpPr>
            <a:spLocks noChangeArrowheads="1"/>
          </p:cNvSpPr>
          <p:nvPr/>
        </p:nvSpPr>
        <p:spPr bwMode="gray">
          <a:xfrm>
            <a:off x="6629405" y="4444705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67" name="Rectangle 72"/>
          <p:cNvSpPr>
            <a:spLocks noChangeArrowheads="1"/>
          </p:cNvSpPr>
          <p:nvPr/>
        </p:nvSpPr>
        <p:spPr bwMode="gray">
          <a:xfrm>
            <a:off x="5446713" y="4070050"/>
            <a:ext cx="1465262" cy="3746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68" name="Line 73"/>
          <p:cNvSpPr>
            <a:spLocks noChangeShapeType="1"/>
          </p:cNvSpPr>
          <p:nvPr/>
        </p:nvSpPr>
        <p:spPr bwMode="gray">
          <a:xfrm>
            <a:off x="5360993" y="4360562"/>
            <a:ext cx="85725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69" name="Rectangle 74"/>
          <p:cNvSpPr>
            <a:spLocks noChangeArrowheads="1"/>
          </p:cNvSpPr>
          <p:nvPr/>
        </p:nvSpPr>
        <p:spPr bwMode="gray">
          <a:xfrm>
            <a:off x="5446713" y="5089230"/>
            <a:ext cx="1465262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70" name="Rectangle 75"/>
          <p:cNvSpPr>
            <a:spLocks noChangeArrowheads="1"/>
          </p:cNvSpPr>
          <p:nvPr/>
        </p:nvSpPr>
        <p:spPr bwMode="gray">
          <a:xfrm>
            <a:off x="6346830" y="5089230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71" name="Rectangle 76"/>
          <p:cNvSpPr>
            <a:spLocks noChangeArrowheads="1"/>
          </p:cNvSpPr>
          <p:nvPr/>
        </p:nvSpPr>
        <p:spPr bwMode="gray">
          <a:xfrm>
            <a:off x="6629405" y="5089230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72" name="Rectangle 77"/>
          <p:cNvSpPr>
            <a:spLocks noChangeArrowheads="1"/>
          </p:cNvSpPr>
          <p:nvPr/>
        </p:nvSpPr>
        <p:spPr bwMode="gray">
          <a:xfrm>
            <a:off x="5446713" y="4712987"/>
            <a:ext cx="1465262" cy="37623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73" name="Line 78"/>
          <p:cNvSpPr>
            <a:spLocks noChangeShapeType="1"/>
          </p:cNvSpPr>
          <p:nvPr/>
        </p:nvSpPr>
        <p:spPr bwMode="gray">
          <a:xfrm>
            <a:off x="5360993" y="5003500"/>
            <a:ext cx="85725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74" name="Rectangle 79"/>
          <p:cNvSpPr>
            <a:spLocks noChangeArrowheads="1"/>
          </p:cNvSpPr>
          <p:nvPr/>
        </p:nvSpPr>
        <p:spPr bwMode="gray">
          <a:xfrm>
            <a:off x="5446713" y="5733755"/>
            <a:ext cx="1465262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75" name="Rectangle 80"/>
          <p:cNvSpPr>
            <a:spLocks noChangeArrowheads="1"/>
          </p:cNvSpPr>
          <p:nvPr/>
        </p:nvSpPr>
        <p:spPr bwMode="gray">
          <a:xfrm>
            <a:off x="6346830" y="5733755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76" name="Rectangle 81"/>
          <p:cNvSpPr>
            <a:spLocks noChangeArrowheads="1"/>
          </p:cNvSpPr>
          <p:nvPr/>
        </p:nvSpPr>
        <p:spPr bwMode="gray">
          <a:xfrm>
            <a:off x="6629405" y="5733755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77" name="Rectangle 82"/>
          <p:cNvSpPr>
            <a:spLocks noChangeArrowheads="1"/>
          </p:cNvSpPr>
          <p:nvPr/>
        </p:nvSpPr>
        <p:spPr bwMode="gray">
          <a:xfrm>
            <a:off x="5446713" y="5357512"/>
            <a:ext cx="1465262" cy="37623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78" name="Line 83"/>
          <p:cNvSpPr>
            <a:spLocks noChangeShapeType="1"/>
          </p:cNvSpPr>
          <p:nvPr/>
        </p:nvSpPr>
        <p:spPr bwMode="gray">
          <a:xfrm>
            <a:off x="5360993" y="5648025"/>
            <a:ext cx="85725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79" name="Line 84"/>
          <p:cNvSpPr>
            <a:spLocks noChangeShapeType="1"/>
          </p:cNvSpPr>
          <p:nvPr/>
        </p:nvSpPr>
        <p:spPr bwMode="gray">
          <a:xfrm>
            <a:off x="5360988" y="3362025"/>
            <a:ext cx="0" cy="228600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80" name="Rectangle 85"/>
          <p:cNvSpPr>
            <a:spLocks noChangeArrowheads="1"/>
          </p:cNvSpPr>
          <p:nvPr/>
        </p:nvSpPr>
        <p:spPr bwMode="gray">
          <a:xfrm>
            <a:off x="7110418" y="3157237"/>
            <a:ext cx="155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081" name="Rectangle 86"/>
          <p:cNvSpPr>
            <a:spLocks noChangeArrowheads="1"/>
          </p:cNvSpPr>
          <p:nvPr/>
        </p:nvSpPr>
        <p:spPr bwMode="gray">
          <a:xfrm>
            <a:off x="8097843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82" name="Rectangle 87"/>
          <p:cNvSpPr>
            <a:spLocks noChangeArrowheads="1"/>
          </p:cNvSpPr>
          <p:nvPr/>
        </p:nvSpPr>
        <p:spPr bwMode="gray">
          <a:xfrm>
            <a:off x="8380418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083" name="Rectangle 88"/>
          <p:cNvSpPr>
            <a:spLocks noChangeArrowheads="1"/>
          </p:cNvSpPr>
          <p:nvPr/>
        </p:nvSpPr>
        <p:spPr bwMode="gray">
          <a:xfrm>
            <a:off x="7110418" y="2781005"/>
            <a:ext cx="1552575" cy="3762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grpSp>
        <p:nvGrpSpPr>
          <p:cNvPr id="981084" name="Group 89"/>
          <p:cNvGrpSpPr>
            <a:grpSpLocks/>
          </p:cNvGrpSpPr>
          <p:nvPr/>
        </p:nvGrpSpPr>
        <p:grpSpPr bwMode="auto">
          <a:xfrm>
            <a:off x="7197730" y="3425530"/>
            <a:ext cx="1465263" cy="579437"/>
            <a:chOff x="461" y="2858"/>
            <a:chExt cx="928" cy="368"/>
          </a:xfrm>
        </p:grpSpPr>
        <p:sp>
          <p:nvSpPr>
            <p:cNvPr id="981085" name="Rectangle 90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86" name="Rectangle 91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87" name="Rectangle 92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88" name="Rectangle 93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89" name="Line 94"/>
          <p:cNvSpPr>
            <a:spLocks noChangeShapeType="1"/>
          </p:cNvSpPr>
          <p:nvPr/>
        </p:nvSpPr>
        <p:spPr bwMode="gray">
          <a:xfrm>
            <a:off x="7110413" y="371445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90" name="Group 95"/>
          <p:cNvGrpSpPr>
            <a:grpSpLocks/>
          </p:cNvGrpSpPr>
          <p:nvPr/>
        </p:nvGrpSpPr>
        <p:grpSpPr bwMode="auto">
          <a:xfrm>
            <a:off x="7197730" y="4070055"/>
            <a:ext cx="1465263" cy="579437"/>
            <a:chOff x="461" y="2858"/>
            <a:chExt cx="928" cy="368"/>
          </a:xfrm>
        </p:grpSpPr>
        <p:sp>
          <p:nvSpPr>
            <p:cNvPr id="981091" name="Rectangle 96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92" name="Rectangle 97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93" name="Rectangle 98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94" name="Rectangle 99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095" name="Line 100"/>
          <p:cNvSpPr>
            <a:spLocks noChangeShapeType="1"/>
          </p:cNvSpPr>
          <p:nvPr/>
        </p:nvSpPr>
        <p:spPr bwMode="gray">
          <a:xfrm>
            <a:off x="7110413" y="4360562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096" name="Group 101"/>
          <p:cNvGrpSpPr>
            <a:grpSpLocks/>
          </p:cNvGrpSpPr>
          <p:nvPr/>
        </p:nvGrpSpPr>
        <p:grpSpPr bwMode="auto">
          <a:xfrm>
            <a:off x="7197730" y="4712992"/>
            <a:ext cx="1465263" cy="581025"/>
            <a:chOff x="461" y="2858"/>
            <a:chExt cx="928" cy="368"/>
          </a:xfrm>
        </p:grpSpPr>
        <p:sp>
          <p:nvSpPr>
            <p:cNvPr id="981097" name="Rectangle 102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098" name="Rectangle 103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099" name="Rectangle 104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00" name="Rectangle 105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101" name="Line 106"/>
          <p:cNvSpPr>
            <a:spLocks noChangeShapeType="1"/>
          </p:cNvSpPr>
          <p:nvPr/>
        </p:nvSpPr>
        <p:spPr bwMode="gray">
          <a:xfrm>
            <a:off x="7110413" y="500350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102" name="Group 107"/>
          <p:cNvGrpSpPr>
            <a:grpSpLocks/>
          </p:cNvGrpSpPr>
          <p:nvPr/>
        </p:nvGrpSpPr>
        <p:grpSpPr bwMode="auto">
          <a:xfrm>
            <a:off x="7197730" y="5357517"/>
            <a:ext cx="1465263" cy="581025"/>
            <a:chOff x="461" y="2858"/>
            <a:chExt cx="928" cy="368"/>
          </a:xfrm>
        </p:grpSpPr>
        <p:sp>
          <p:nvSpPr>
            <p:cNvPr id="981103" name="Rectangle 108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104" name="Rectangle 109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05" name="Rectangle 110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06" name="Rectangle 111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107" name="Line 112"/>
          <p:cNvSpPr>
            <a:spLocks noChangeShapeType="1"/>
          </p:cNvSpPr>
          <p:nvPr/>
        </p:nvSpPr>
        <p:spPr bwMode="gray">
          <a:xfrm>
            <a:off x="7110413" y="5648025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08" name="Line 113"/>
          <p:cNvSpPr>
            <a:spLocks noChangeShapeType="1"/>
          </p:cNvSpPr>
          <p:nvPr/>
        </p:nvSpPr>
        <p:spPr bwMode="gray">
          <a:xfrm>
            <a:off x="7110413" y="3362025"/>
            <a:ext cx="0" cy="228600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09" name="Rectangle 114"/>
          <p:cNvSpPr>
            <a:spLocks noChangeArrowheads="1"/>
          </p:cNvSpPr>
          <p:nvPr/>
        </p:nvSpPr>
        <p:spPr bwMode="gray">
          <a:xfrm>
            <a:off x="8863018" y="3157237"/>
            <a:ext cx="155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10" name="Rectangle 115"/>
          <p:cNvSpPr>
            <a:spLocks noChangeArrowheads="1"/>
          </p:cNvSpPr>
          <p:nvPr/>
        </p:nvSpPr>
        <p:spPr bwMode="gray">
          <a:xfrm>
            <a:off x="9850443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11" name="Rectangle 116"/>
          <p:cNvSpPr>
            <a:spLocks noChangeArrowheads="1"/>
          </p:cNvSpPr>
          <p:nvPr/>
        </p:nvSpPr>
        <p:spPr bwMode="gray">
          <a:xfrm>
            <a:off x="10133018" y="3157237"/>
            <a:ext cx="282575" cy="2047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12" name="Rectangle 117"/>
          <p:cNvSpPr>
            <a:spLocks noChangeArrowheads="1"/>
          </p:cNvSpPr>
          <p:nvPr/>
        </p:nvSpPr>
        <p:spPr bwMode="gray">
          <a:xfrm>
            <a:off x="8863018" y="2781005"/>
            <a:ext cx="1552575" cy="3762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grpSp>
        <p:nvGrpSpPr>
          <p:cNvPr id="981113" name="Group 118"/>
          <p:cNvGrpSpPr>
            <a:grpSpLocks/>
          </p:cNvGrpSpPr>
          <p:nvPr/>
        </p:nvGrpSpPr>
        <p:grpSpPr bwMode="auto">
          <a:xfrm>
            <a:off x="8950330" y="3425530"/>
            <a:ext cx="1465263" cy="579437"/>
            <a:chOff x="461" y="2858"/>
            <a:chExt cx="928" cy="368"/>
          </a:xfrm>
        </p:grpSpPr>
        <p:sp>
          <p:nvSpPr>
            <p:cNvPr id="981114" name="Rectangle 119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115" name="Rectangle 120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16" name="Rectangle 121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17" name="Rectangle 122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118" name="Line 123"/>
          <p:cNvSpPr>
            <a:spLocks noChangeShapeType="1"/>
          </p:cNvSpPr>
          <p:nvPr/>
        </p:nvSpPr>
        <p:spPr bwMode="gray">
          <a:xfrm>
            <a:off x="8863013" y="371445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119" name="Group 124"/>
          <p:cNvGrpSpPr>
            <a:grpSpLocks/>
          </p:cNvGrpSpPr>
          <p:nvPr/>
        </p:nvGrpSpPr>
        <p:grpSpPr bwMode="auto">
          <a:xfrm>
            <a:off x="8950330" y="4070055"/>
            <a:ext cx="1465263" cy="579437"/>
            <a:chOff x="461" y="2858"/>
            <a:chExt cx="928" cy="368"/>
          </a:xfrm>
        </p:grpSpPr>
        <p:sp>
          <p:nvSpPr>
            <p:cNvPr id="981120" name="Rectangle 125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121" name="Rectangle 126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22" name="Rectangle 127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23" name="Rectangle 128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124" name="Line 129"/>
          <p:cNvSpPr>
            <a:spLocks noChangeShapeType="1"/>
          </p:cNvSpPr>
          <p:nvPr/>
        </p:nvSpPr>
        <p:spPr bwMode="gray">
          <a:xfrm>
            <a:off x="8863013" y="4360562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981125" name="Group 130"/>
          <p:cNvGrpSpPr>
            <a:grpSpLocks/>
          </p:cNvGrpSpPr>
          <p:nvPr/>
        </p:nvGrpSpPr>
        <p:grpSpPr bwMode="auto">
          <a:xfrm>
            <a:off x="8950330" y="4712992"/>
            <a:ext cx="1465263" cy="581025"/>
            <a:chOff x="461" y="2858"/>
            <a:chExt cx="928" cy="368"/>
          </a:xfrm>
        </p:grpSpPr>
        <p:sp>
          <p:nvSpPr>
            <p:cNvPr id="981126" name="Rectangle 131"/>
            <p:cNvSpPr>
              <a:spLocks noChangeArrowheads="1"/>
            </p:cNvSpPr>
            <p:nvPr/>
          </p:nvSpPr>
          <p:spPr bwMode="gray">
            <a:xfrm>
              <a:off x="461" y="3096"/>
              <a:ext cx="928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18000" bIns="0" anchor="ctr"/>
            <a:lstStyle/>
            <a:p>
              <a:pPr defTabSz="911225"/>
              <a:r>
                <a:rPr lang="de-DE" sz="1000" dirty="0" err="1">
                  <a:solidFill>
                    <a:srgbClr val="000000"/>
                  </a:solidFill>
                  <a:latin typeface="Arial" charset="0"/>
                </a:rPr>
                <a:t>Responsible</a:t>
              </a:r>
              <a:endParaRPr lang="de-DE" sz="10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1127" name="Rectangle 132"/>
            <p:cNvSpPr>
              <a:spLocks noChangeArrowheads="1"/>
            </p:cNvSpPr>
            <p:nvPr/>
          </p:nvSpPr>
          <p:spPr bwMode="gray">
            <a:xfrm>
              <a:off x="1031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28" name="Rectangle 133"/>
            <p:cNvSpPr>
              <a:spLocks noChangeArrowheads="1"/>
            </p:cNvSpPr>
            <p:nvPr/>
          </p:nvSpPr>
          <p:spPr bwMode="gray">
            <a:xfrm>
              <a:off x="1210" y="3096"/>
              <a:ext cx="179" cy="1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0" tIns="0" rIns="18000" bIns="0" anchor="ctr"/>
            <a:lstStyle/>
            <a:p>
              <a:pPr algn="r"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  <p:sp>
          <p:nvSpPr>
            <p:cNvPr id="981129" name="Rectangle 134"/>
            <p:cNvSpPr>
              <a:spLocks noChangeArrowheads="1"/>
            </p:cNvSpPr>
            <p:nvPr/>
          </p:nvSpPr>
          <p:spPr bwMode="gray">
            <a:xfrm>
              <a:off x="461" y="2858"/>
              <a:ext cx="928" cy="2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defTabSz="911225"/>
              <a:r>
                <a:rPr lang="de-DE" sz="1000">
                  <a:solidFill>
                    <a:srgbClr val="000000"/>
                  </a:solidFill>
                  <a:latin typeface="Arial" charset="0"/>
                </a:rPr>
                <a:t>…</a:t>
              </a:r>
            </a:p>
          </p:txBody>
        </p:sp>
      </p:grpSp>
      <p:sp>
        <p:nvSpPr>
          <p:cNvPr id="981130" name="Line 135"/>
          <p:cNvSpPr>
            <a:spLocks noChangeShapeType="1"/>
          </p:cNvSpPr>
          <p:nvPr/>
        </p:nvSpPr>
        <p:spPr bwMode="gray">
          <a:xfrm>
            <a:off x="8863013" y="5003500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31" name="Rectangle 136"/>
          <p:cNvSpPr>
            <a:spLocks noChangeArrowheads="1"/>
          </p:cNvSpPr>
          <p:nvPr/>
        </p:nvSpPr>
        <p:spPr bwMode="gray">
          <a:xfrm>
            <a:off x="8950330" y="5733755"/>
            <a:ext cx="1465263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32" name="Rectangle 137"/>
          <p:cNvSpPr>
            <a:spLocks noChangeArrowheads="1"/>
          </p:cNvSpPr>
          <p:nvPr/>
        </p:nvSpPr>
        <p:spPr bwMode="gray">
          <a:xfrm>
            <a:off x="9850443" y="5733755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33" name="Rectangle 138"/>
          <p:cNvSpPr>
            <a:spLocks noChangeArrowheads="1"/>
          </p:cNvSpPr>
          <p:nvPr/>
        </p:nvSpPr>
        <p:spPr bwMode="gray">
          <a:xfrm>
            <a:off x="10133018" y="5733755"/>
            <a:ext cx="2825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34" name="Rectangle 139"/>
          <p:cNvSpPr>
            <a:spLocks noChangeArrowheads="1"/>
          </p:cNvSpPr>
          <p:nvPr/>
        </p:nvSpPr>
        <p:spPr bwMode="gray">
          <a:xfrm>
            <a:off x="8950330" y="5357512"/>
            <a:ext cx="1465263" cy="37623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35" name="Line 140"/>
          <p:cNvSpPr>
            <a:spLocks noChangeShapeType="1"/>
          </p:cNvSpPr>
          <p:nvPr/>
        </p:nvSpPr>
        <p:spPr bwMode="gray">
          <a:xfrm>
            <a:off x="8863013" y="5648025"/>
            <a:ext cx="87312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36" name="Line 141"/>
          <p:cNvSpPr>
            <a:spLocks noChangeShapeType="1"/>
          </p:cNvSpPr>
          <p:nvPr/>
        </p:nvSpPr>
        <p:spPr bwMode="gray">
          <a:xfrm>
            <a:off x="8863013" y="3362025"/>
            <a:ext cx="0" cy="228600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37" name="Rectangle 142"/>
          <p:cNvSpPr>
            <a:spLocks noChangeArrowheads="1"/>
          </p:cNvSpPr>
          <p:nvPr/>
        </p:nvSpPr>
        <p:spPr bwMode="gray">
          <a:xfrm>
            <a:off x="5360993" y="1794081"/>
            <a:ext cx="1550987" cy="206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17969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Responsible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38" name="Rectangle 143"/>
          <p:cNvSpPr>
            <a:spLocks noChangeArrowheads="1"/>
          </p:cNvSpPr>
          <p:nvPr/>
        </p:nvSpPr>
        <p:spPr bwMode="gray">
          <a:xfrm>
            <a:off x="6346830" y="1794081"/>
            <a:ext cx="282575" cy="206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39" name="Rectangle 144"/>
          <p:cNvSpPr>
            <a:spLocks noChangeArrowheads="1"/>
          </p:cNvSpPr>
          <p:nvPr/>
        </p:nvSpPr>
        <p:spPr bwMode="gray">
          <a:xfrm>
            <a:off x="6629405" y="1794081"/>
            <a:ext cx="282575" cy="206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miter lim="800000"/>
            <a:headEnd/>
            <a:tailEnd/>
          </a:ln>
        </p:spPr>
        <p:txBody>
          <a:bodyPr lIns="0" tIns="0" rIns="17969" bIns="0" anchor="ctr"/>
          <a:lstStyle/>
          <a:p>
            <a:pPr algn="r" defTabSz="911225"/>
            <a:r>
              <a:rPr lang="de-DE" sz="1000">
                <a:solidFill>
                  <a:srgbClr val="000000"/>
                </a:solidFill>
                <a:latin typeface="Arial" charset="0"/>
              </a:rPr>
              <a:t>…</a:t>
            </a:r>
          </a:p>
        </p:txBody>
      </p:sp>
      <p:sp>
        <p:nvSpPr>
          <p:cNvPr id="981140" name="Rectangle 145"/>
          <p:cNvSpPr>
            <a:spLocks noChangeArrowheads="1"/>
          </p:cNvSpPr>
          <p:nvPr/>
        </p:nvSpPr>
        <p:spPr bwMode="gray">
          <a:xfrm>
            <a:off x="5360993" y="1425096"/>
            <a:ext cx="1550987" cy="374650"/>
          </a:xfrm>
          <a:prstGeom prst="rect">
            <a:avLst/>
          </a:prstGeom>
          <a:solidFill>
            <a:srgbClr val="335182"/>
          </a:solidFill>
          <a:ln w="12700">
            <a:solidFill>
              <a:schemeClr val="accent6"/>
            </a:solidFill>
          </a:ln>
        </p:spPr>
        <p:txBody>
          <a:bodyPr wrap="none" lIns="82845" tIns="41422" rIns="82845" bIns="41422" anchor="ctr"/>
          <a:lstStyle/>
          <a:p>
            <a:pPr algn="ctr" defTabSz="827088"/>
            <a:r>
              <a:rPr lang="de-DE" sz="1600">
                <a:solidFill>
                  <a:srgbClr val="FFFFFF"/>
                </a:solidFill>
                <a:latin typeface="Arial" charset="0"/>
              </a:rPr>
              <a:t>…</a:t>
            </a:r>
          </a:p>
        </p:txBody>
      </p:sp>
      <p:sp>
        <p:nvSpPr>
          <p:cNvPr id="981141" name="Line 147"/>
          <p:cNvSpPr>
            <a:spLocks noChangeShapeType="1"/>
          </p:cNvSpPr>
          <p:nvPr/>
        </p:nvSpPr>
        <p:spPr bwMode="gray">
          <a:xfrm>
            <a:off x="6140455" y="2153066"/>
            <a:ext cx="969963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eaLnBrk="1" hangingPunct="1"/>
            <a:endParaRPr lang="de-DE" sz="1600" i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81142" name="Rectangle 148"/>
          <p:cNvSpPr>
            <a:spLocks noChangeArrowheads="1"/>
          </p:cNvSpPr>
          <p:nvPr/>
        </p:nvSpPr>
        <p:spPr bwMode="gray">
          <a:xfrm>
            <a:off x="7110418" y="1996018"/>
            <a:ext cx="1552575" cy="2809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miter lim="800000"/>
            <a:headEnd/>
            <a:tailEnd/>
          </a:ln>
        </p:spPr>
        <p:txBody>
          <a:bodyPr lIns="35935" tIns="0" rIns="35935" bIns="0" anchor="ctr"/>
          <a:lstStyle/>
          <a:p>
            <a:pPr defTabSz="911225"/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Staff</a:t>
            </a:r>
            <a:r>
              <a:rPr lang="de-DE" sz="10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Arial" charset="0"/>
              </a:rPr>
              <a:t>function</a:t>
            </a:r>
            <a:endParaRPr lang="de-DE" sz="1000" dirty="0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981143" name="AutoShape 149"/>
          <p:cNvCxnSpPr>
            <a:cxnSpLocks noChangeShapeType="1"/>
            <a:stCxn id="981137" idx="2"/>
            <a:endCxn id="981001" idx="0"/>
          </p:cNvCxnSpPr>
          <p:nvPr/>
        </p:nvCxnSpPr>
        <p:spPr bwMode="gray">
          <a:xfrm rot="5400000">
            <a:off x="3995201" y="639718"/>
            <a:ext cx="780549" cy="350202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81144" name="AutoShape 150"/>
          <p:cNvCxnSpPr>
            <a:cxnSpLocks noChangeShapeType="1"/>
            <a:stCxn id="981137" idx="2"/>
            <a:endCxn id="981029" idx="0"/>
          </p:cNvCxnSpPr>
          <p:nvPr/>
        </p:nvCxnSpPr>
        <p:spPr bwMode="gray">
          <a:xfrm rot="5400000">
            <a:off x="4870707" y="1515224"/>
            <a:ext cx="780549" cy="175101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81145" name="AutoShape 151"/>
          <p:cNvCxnSpPr>
            <a:cxnSpLocks noChangeShapeType="1"/>
            <a:stCxn id="981137" idx="2"/>
            <a:endCxn id="981058" idx="0"/>
          </p:cNvCxnSpPr>
          <p:nvPr/>
        </p:nvCxnSpPr>
        <p:spPr bwMode="gray">
          <a:xfrm>
            <a:off x="6136482" y="2000456"/>
            <a:ext cx="0" cy="780549"/>
          </a:xfrm>
          <a:prstGeom prst="straightConnector1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81146" name="AutoShape 152"/>
          <p:cNvCxnSpPr>
            <a:cxnSpLocks noChangeShapeType="1"/>
            <a:stCxn id="981137" idx="2"/>
            <a:endCxn id="981083" idx="0"/>
          </p:cNvCxnSpPr>
          <p:nvPr/>
        </p:nvCxnSpPr>
        <p:spPr bwMode="gray">
          <a:xfrm rot="16200000" flipH="1">
            <a:off x="6621322" y="1515620"/>
            <a:ext cx="780549" cy="175021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81147" name="AutoShape 153"/>
          <p:cNvCxnSpPr>
            <a:cxnSpLocks noChangeShapeType="1"/>
            <a:stCxn id="981137" idx="2"/>
            <a:endCxn id="981112" idx="0"/>
          </p:cNvCxnSpPr>
          <p:nvPr/>
        </p:nvCxnSpPr>
        <p:spPr bwMode="gray">
          <a:xfrm rot="16200000" flipH="1">
            <a:off x="7497622" y="639320"/>
            <a:ext cx="780549" cy="350281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9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13081093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r>
              <a:rPr lang="de-DE" sz="11500" dirty="0" err="1"/>
              <a:t>Copy</a:t>
            </a:r>
            <a:r>
              <a:rPr lang="de-DE" sz="11500" dirty="0"/>
              <a:t> </a:t>
            </a:r>
            <a:r>
              <a:rPr lang="de-DE" sz="11500" dirty="0" err="1"/>
              <a:t>here</a:t>
            </a:r>
            <a:r>
              <a:rPr lang="de-DE" sz="11500" dirty="0"/>
              <a:t>…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endParaRPr lang="de-AT" dirty="0"/>
          </a:p>
        </p:txBody>
      </p:sp>
      <p:sp>
        <p:nvSpPr>
          <p:cNvPr id="15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670095926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ext Box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1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1776000" y="1341000"/>
            <a:ext cx="2160000" cy="720000"/>
          </a:xfrm>
          <a:prstGeom prst="rect">
            <a:avLst/>
          </a:prstGeom>
          <a:solidFill>
            <a:srgbClr val="D1E6F7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58585"/>
                </a:solidFill>
              </a14:hiddenLine>
            </a:ext>
          </a:extLst>
        </p:spPr>
        <p:txBody>
          <a:bodyPr lIns="72000" tIns="72000" rIns="72000" bIns="72000">
            <a:no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Textbox</a:t>
            </a:r>
            <a:endParaRPr lang="de-DE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224000" y="1341000"/>
            <a:ext cx="2160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1E6F7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858585"/>
                </a:solidFill>
              </a14:hiddenLine>
            </a:ext>
          </a:extLst>
        </p:spPr>
        <p:txBody>
          <a:bodyPr wrap="none" lIns="0" tIns="0" rIns="0" bIns="0">
            <a:no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lvl="2" indent="-176213"/>
            <a:r>
              <a:rPr lang="de-DE" sz="1400" dirty="0" err="1"/>
              <a:t>generally</a:t>
            </a:r>
            <a:r>
              <a:rPr lang="de-DE" sz="1400" dirty="0"/>
              <a:t> </a:t>
            </a:r>
            <a:r>
              <a:rPr lang="de-DE" sz="1400" dirty="0" err="1"/>
              <a:t>copy</a:t>
            </a:r>
            <a:r>
              <a:rPr lang="de-DE" sz="1400" dirty="0"/>
              <a:t> </a:t>
            </a:r>
            <a:r>
              <a:rPr lang="de-DE" sz="1400" dirty="0" err="1"/>
              <a:t>this</a:t>
            </a:r>
            <a:r>
              <a:rPr lang="de-DE" sz="1400" dirty="0"/>
              <a:t> box</a:t>
            </a:r>
          </a:p>
          <a:p>
            <a:pPr marL="176213" lvl="2" indent="-176213"/>
            <a:r>
              <a:rPr lang="de-DE" sz="1400" dirty="0" err="1"/>
              <a:t>if</a:t>
            </a:r>
            <a:r>
              <a:rPr lang="de-DE" sz="1400" dirty="0"/>
              <a:t> </a:t>
            </a: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need</a:t>
            </a:r>
            <a:r>
              <a:rPr lang="de-DE" sz="1400" dirty="0"/>
              <a:t> </a:t>
            </a:r>
            <a:r>
              <a:rPr lang="de-DE" sz="1400" dirty="0" err="1"/>
              <a:t>other</a:t>
            </a:r>
            <a:r>
              <a:rPr lang="de-DE" sz="1400" dirty="0"/>
              <a:t> </a:t>
            </a:r>
            <a:r>
              <a:rPr lang="de-DE" sz="1400" dirty="0" err="1"/>
              <a:t>shapes</a:t>
            </a:r>
            <a:r>
              <a:rPr lang="de-DE" sz="1400" dirty="0"/>
              <a:t> </a:t>
            </a:r>
            <a:r>
              <a:rPr lang="de-DE" sz="1400" dirty="0" err="1"/>
              <a:t>use</a:t>
            </a:r>
            <a:r>
              <a:rPr lang="de-DE" sz="1400" dirty="0"/>
              <a:t> „Change Shape“</a:t>
            </a:r>
          </a:p>
          <a:p>
            <a:pPr marL="176213" lvl="2" indent="-176213"/>
            <a:r>
              <a:rPr lang="de-DE" sz="1400" dirty="0"/>
              <a:t>Advantage: </a:t>
            </a: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use</a:t>
            </a:r>
            <a:r>
              <a:rPr lang="de-DE" sz="1400" dirty="0"/>
              <a:t> „ALT-SHFT </a:t>
            </a:r>
            <a:r>
              <a:rPr lang="de-DE" sz="1400" dirty="0" err="1"/>
              <a:t>Curser</a:t>
            </a:r>
            <a:r>
              <a:rPr lang="de-DE" sz="1400" dirty="0"/>
              <a:t>“ </a:t>
            </a:r>
          </a:p>
          <a:p>
            <a:pPr marL="447675" lvl="3"/>
            <a:r>
              <a:rPr lang="de-DE" sz="1200" dirty="0" err="1"/>
              <a:t>left</a:t>
            </a:r>
            <a:r>
              <a:rPr lang="de-DE" sz="1200" dirty="0"/>
              <a:t> </a:t>
            </a:r>
            <a:r>
              <a:rPr lang="de-DE" sz="1200" dirty="0" err="1"/>
              <a:t>or</a:t>
            </a:r>
            <a:r>
              <a:rPr lang="de-DE" sz="1200" dirty="0"/>
              <a:t> </a:t>
            </a:r>
            <a:r>
              <a:rPr lang="de-DE" sz="1200" dirty="0" err="1"/>
              <a:t>right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indent</a:t>
            </a:r>
            <a:endParaRPr lang="de-DE" sz="1200" dirty="0"/>
          </a:p>
          <a:p>
            <a:pPr marL="447675" lvl="3"/>
            <a:r>
              <a:rPr lang="de-DE" sz="1200" dirty="0" err="1"/>
              <a:t>up</a:t>
            </a:r>
            <a:r>
              <a:rPr lang="de-DE" sz="1200" dirty="0"/>
              <a:t>/down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arrange</a:t>
            </a:r>
            <a:endParaRPr lang="de-DE" sz="12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1776000" y="2709000"/>
            <a:ext cx="2160000" cy="288000"/>
            <a:chOff x="252000" y="2709000"/>
            <a:chExt cx="2160000" cy="288000"/>
          </a:xfrm>
        </p:grpSpPr>
        <p:sp>
          <p:nvSpPr>
            <p:cNvPr id="8" name="Text Placeholder 5"/>
            <p:cNvSpPr txBox="1">
              <a:spLocks/>
            </p:cNvSpPr>
            <p:nvPr/>
          </p:nvSpPr>
          <p:spPr>
            <a:xfrm>
              <a:off x="252000" y="2709000"/>
              <a:ext cx="2160000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1E6F7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solidFill>
                    <a:srgbClr val="858585"/>
                  </a:solidFill>
                </a14:hiddenLine>
              </a:ext>
            </a:extLst>
          </p:spPr>
          <p:txBody>
            <a:bodyPr wrap="none" lIns="0" tIns="0" rIns="0" bIns="0" anchor="ctr">
              <a:no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DE" sz="1400" dirty="0"/>
                <a:t>Caption</a:t>
              </a: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252000" y="2997000"/>
              <a:ext cx="2160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 Placeholder 5"/>
          <p:cNvSpPr txBox="1">
            <a:spLocks/>
          </p:cNvSpPr>
          <p:nvPr/>
        </p:nvSpPr>
        <p:spPr>
          <a:xfrm>
            <a:off x="4224000" y="2709000"/>
            <a:ext cx="2160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1E6F7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858585"/>
                </a:solidFill>
              </a14:hiddenLine>
            </a:ext>
          </a:extLst>
        </p:spPr>
        <p:txBody>
          <a:bodyPr wrap="none" lIns="0" tIns="0" rIns="0" bIns="0">
            <a:no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lvl="2" indent="-176213"/>
            <a:r>
              <a:rPr lang="de-DE" sz="1400" dirty="0" err="1"/>
              <a:t>use</a:t>
            </a:r>
            <a:r>
              <a:rPr lang="de-DE" sz="1400" dirty="0"/>
              <a:t> </a:t>
            </a:r>
            <a:r>
              <a:rPr lang="de-DE" sz="1400" dirty="0" err="1"/>
              <a:t>thi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list</a:t>
            </a:r>
            <a:r>
              <a:rPr lang="de-DE" sz="1400" dirty="0"/>
              <a:t> </a:t>
            </a:r>
            <a:r>
              <a:rPr lang="de-DE" sz="1400" dirty="0" err="1"/>
              <a:t>titles</a:t>
            </a:r>
            <a:endParaRPr lang="de-DE" sz="1200" dirty="0"/>
          </a:p>
        </p:txBody>
      </p:sp>
      <p:grpSp>
        <p:nvGrpSpPr>
          <p:cNvPr id="16" name="Group 15"/>
          <p:cNvGrpSpPr/>
          <p:nvPr/>
        </p:nvGrpSpPr>
        <p:grpSpPr>
          <a:xfrm>
            <a:off x="1776000" y="3357005"/>
            <a:ext cx="2160000" cy="718331"/>
            <a:chOff x="252000" y="3357000"/>
            <a:chExt cx="2160000" cy="718331"/>
          </a:xfrm>
        </p:grpSpPr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252000" y="3429000"/>
              <a:ext cx="216000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1E6F7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solidFill>
                    <a:srgbClr val="858585"/>
                  </a:solidFill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000" lvl="2" indent="-180000" defTabSz="720000">
                <a:spcBef>
                  <a:spcPts val="0"/>
                </a:spcBef>
              </a:pPr>
              <a:r>
                <a:rPr lang="de-DE" sz="1400" dirty="0" err="1"/>
                <a:t>use</a:t>
              </a:r>
              <a:r>
                <a:rPr lang="de-DE" sz="1400" dirty="0"/>
                <a:t> </a:t>
              </a:r>
              <a:r>
                <a:rPr lang="de-DE" sz="1400" dirty="0" err="1"/>
                <a:t>this</a:t>
              </a:r>
              <a:r>
                <a:rPr lang="de-DE" sz="1400" dirty="0"/>
                <a:t> </a:t>
              </a:r>
              <a:r>
                <a:rPr lang="de-DE" sz="1400" dirty="0" err="1"/>
                <a:t>for</a:t>
              </a:r>
              <a:r>
                <a:rPr lang="de-DE" sz="1400" dirty="0"/>
                <a:t> </a:t>
              </a:r>
              <a:r>
                <a:rPr lang="de-DE" sz="1400" dirty="0" err="1"/>
                <a:t>list</a:t>
              </a:r>
              <a:r>
                <a:rPr lang="de-DE" sz="1400" dirty="0"/>
                <a:t> </a:t>
              </a:r>
              <a:r>
                <a:rPr lang="de-DE" sz="1400" dirty="0" err="1"/>
                <a:t>elements</a:t>
              </a:r>
              <a:r>
                <a:rPr lang="de-DE" sz="1400" dirty="0"/>
                <a:t>, </a:t>
              </a:r>
              <a:r>
                <a:rPr lang="de-DE" sz="1400" dirty="0" err="1"/>
                <a:t>and</a:t>
              </a:r>
              <a:r>
                <a:rPr lang="de-DE" sz="1400" dirty="0"/>
                <a:t> </a:t>
              </a:r>
              <a:r>
                <a:rPr lang="de-DE" sz="1400" dirty="0" err="1"/>
                <a:t>write</a:t>
              </a:r>
              <a:r>
                <a:rPr lang="de-DE" sz="1400" dirty="0"/>
                <a:t> </a:t>
              </a:r>
              <a:r>
                <a:rPr lang="de-DE" sz="1400" dirty="0" err="1"/>
                <a:t>lists</a:t>
              </a:r>
              <a:endParaRPr lang="de-DE" sz="1400" dirty="0"/>
            </a:p>
            <a:p>
              <a:pPr marL="180000" lvl="2" indent="-180000" defTabSz="720000">
                <a:spcBef>
                  <a:spcPts val="0"/>
                </a:spcBef>
              </a:pPr>
              <a:r>
                <a:rPr lang="de-DE" sz="1400" dirty="0" err="1"/>
                <a:t>with</a:t>
              </a:r>
              <a:r>
                <a:rPr lang="de-DE" sz="1400" dirty="0"/>
                <a:t> 1..n </a:t>
              </a:r>
              <a:r>
                <a:rPr lang="de-DE" sz="1400" dirty="0" err="1"/>
                <a:t>items</a:t>
              </a:r>
              <a:endParaRPr lang="de-DE" sz="1200" dirty="0"/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252000" y="3357000"/>
              <a:ext cx="216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1776000" y="4150674"/>
            <a:ext cx="2160000" cy="1580105"/>
            <a:chOff x="252000" y="3357000"/>
            <a:chExt cx="2160000" cy="1580105"/>
          </a:xfrm>
        </p:grpSpPr>
        <p:sp>
          <p:nvSpPr>
            <p:cNvPr id="18" name="Text Placeholder 5"/>
            <p:cNvSpPr txBox="1">
              <a:spLocks/>
            </p:cNvSpPr>
            <p:nvPr/>
          </p:nvSpPr>
          <p:spPr>
            <a:xfrm>
              <a:off x="252000" y="3429000"/>
              <a:ext cx="2160000" cy="1508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1E6F7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solidFill>
                    <a:srgbClr val="858585"/>
                  </a:solidFill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1588" indent="-1588" algn="l" defTabSz="914400" rtl="0" eaLnBrk="1" latinLnBrk="0" hangingPunct="1">
                <a:spcBef>
                  <a:spcPct val="20000"/>
                </a:spcBef>
                <a:buClr>
                  <a:schemeClr val="accent2">
                    <a:lumMod val="75000"/>
                  </a:schemeClr>
                </a:buClr>
                <a:buFont typeface="Arial Narrow" pitchFamily="34" charset="0"/>
                <a:buNone/>
                <a:defRPr sz="2000" b="1" kern="1200" baseline="0">
                  <a:solidFill>
                    <a:schemeClr val="accent2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2">
                    <a:lumMod val="75000"/>
                  </a:schemeClr>
                </a:buClr>
                <a:buSzPct val="100000"/>
                <a:buFontTx/>
                <a:buNone/>
                <a:defRPr sz="2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357188" algn="l" defTabSz="914400" rtl="0" eaLnBrk="1" latinLnBrk="0" hangingPunct="1">
                <a:spcBef>
                  <a:spcPts val="100"/>
                </a:spcBef>
                <a:buClr>
                  <a:schemeClr val="accent2">
                    <a:lumMod val="75000"/>
                  </a:schemeClr>
                </a:buClr>
                <a:buSzPct val="100000"/>
                <a:buFont typeface="Arial Narrow" panose="020B0606020202030204" pitchFamily="34" charset="0"/>
                <a:buChar char="●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7063" marR="0" indent="-277813" algn="l" defTabSz="804863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Arial Narrow" panose="020B0606020202030204" pitchFamily="34" charset="0"/>
                <a:buChar char="−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82563" algn="l" defTabSz="914400" rtl="0" eaLnBrk="1" latinLnBrk="0" hangingPunct="1"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79500" indent="-182563" algn="l" defTabSz="914400" rtl="0" eaLnBrk="1" latinLnBrk="0" hangingPunct="1">
                <a:spcBef>
                  <a:spcPct val="20000"/>
                </a:spcBef>
                <a:buFont typeface="Symbol" panose="05050102010706020507" pitchFamily="18" charset="2"/>
                <a:buChar char="-"/>
                <a:defRPr lang="en-US" sz="12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000" lvl="2" indent="-180000" defTabSz="720000">
                <a:spcBef>
                  <a:spcPts val="0"/>
                </a:spcBef>
              </a:pPr>
              <a:r>
                <a:rPr lang="de-DE" sz="1400" dirty="0"/>
                <a:t>separate </a:t>
              </a:r>
              <a:r>
                <a:rPr lang="de-DE" sz="1400" dirty="0" err="1"/>
                <a:t>subjects</a:t>
              </a:r>
              <a:r>
                <a:rPr lang="de-DE" sz="1400" dirty="0"/>
                <a:t> </a:t>
              </a:r>
              <a:r>
                <a:rPr lang="de-DE" sz="1400" dirty="0" err="1"/>
                <a:t>with</a:t>
              </a:r>
              <a:r>
                <a:rPr lang="de-DE" sz="1400" dirty="0"/>
                <a:t> </a:t>
              </a:r>
              <a:r>
                <a:rPr lang="de-DE" sz="1400" dirty="0" err="1"/>
                <a:t>dotted</a:t>
              </a:r>
              <a:r>
                <a:rPr lang="de-DE" sz="1400" dirty="0"/>
                <a:t> </a:t>
              </a:r>
              <a:r>
                <a:rPr lang="de-DE" sz="1400" dirty="0" err="1"/>
                <a:t>line</a:t>
              </a:r>
              <a:endParaRPr lang="de-DE" sz="1400" dirty="0"/>
            </a:p>
            <a:p>
              <a:pPr marL="180000" lvl="2" indent="-180000" defTabSz="720000">
                <a:spcBef>
                  <a:spcPts val="0"/>
                </a:spcBef>
              </a:pPr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line</a:t>
              </a:r>
              <a:r>
                <a:rPr lang="de-DE" sz="1400" dirty="0"/>
                <a:t> </a:t>
              </a:r>
              <a:r>
                <a:rPr lang="de-DE" sz="1400" dirty="0" err="1"/>
                <a:t>is</a:t>
              </a:r>
              <a:r>
                <a:rPr lang="de-DE" sz="1400" dirty="0"/>
                <a:t> </a:t>
              </a:r>
              <a:r>
                <a:rPr lang="de-DE" sz="1400" dirty="0" err="1"/>
                <a:t>grouped</a:t>
              </a:r>
              <a:r>
                <a:rPr lang="de-DE" sz="1400" dirty="0"/>
                <a:t> </a:t>
              </a:r>
              <a:r>
                <a:rPr lang="de-DE" sz="1400" dirty="0" err="1"/>
                <a:t>to</a:t>
              </a:r>
              <a:r>
                <a:rPr lang="de-DE" sz="1400" dirty="0"/>
                <a:t> </a:t>
              </a:r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textbox</a:t>
              </a:r>
              <a:r>
                <a:rPr lang="de-DE" sz="1400" dirty="0"/>
                <a:t> </a:t>
              </a:r>
              <a:r>
                <a:rPr lang="de-DE" sz="1400" dirty="0" err="1"/>
                <a:t>to</a:t>
              </a:r>
              <a:r>
                <a:rPr lang="de-DE" sz="1400" dirty="0"/>
                <a:t> fix </a:t>
              </a:r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distance</a:t>
              </a:r>
              <a:endParaRPr lang="de-DE" sz="1400" dirty="0"/>
            </a:p>
            <a:p>
              <a:pPr marL="180000" lvl="2" indent="-180000" defTabSz="720000">
                <a:spcBef>
                  <a:spcPts val="0"/>
                </a:spcBef>
              </a:pPr>
              <a:r>
                <a:rPr lang="de-DE" sz="1400" dirty="0"/>
                <a:t>in </a:t>
              </a:r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first</a:t>
              </a:r>
              <a:r>
                <a:rPr lang="de-DE" sz="1400" dirty="0"/>
                <a:t> box </a:t>
              </a:r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dotted</a:t>
              </a:r>
              <a:r>
                <a:rPr lang="de-DE" sz="1400" dirty="0"/>
                <a:t> </a:t>
              </a:r>
              <a:r>
                <a:rPr lang="de-DE" sz="1400" dirty="0" err="1"/>
                <a:t>line</a:t>
              </a:r>
              <a:r>
                <a:rPr lang="de-DE" sz="1400" dirty="0"/>
                <a:t> will </a:t>
              </a:r>
              <a:r>
                <a:rPr lang="de-DE" sz="1400" dirty="0" err="1"/>
                <a:t>be</a:t>
              </a:r>
              <a:r>
                <a:rPr lang="de-DE" sz="1400" dirty="0"/>
                <a:t> </a:t>
              </a:r>
              <a:r>
                <a:rPr lang="de-DE" sz="1400" dirty="0" err="1"/>
                <a:t>covered</a:t>
              </a:r>
              <a:r>
                <a:rPr lang="de-DE" sz="1400" dirty="0"/>
                <a:t> </a:t>
              </a:r>
              <a:r>
                <a:rPr lang="de-DE" sz="1400" dirty="0" err="1"/>
                <a:t>by</a:t>
              </a:r>
              <a:r>
                <a:rPr lang="de-DE" sz="1400" dirty="0"/>
                <a:t> </a:t>
              </a:r>
              <a:r>
                <a:rPr lang="de-DE" sz="1400" dirty="0" err="1"/>
                <a:t>the</a:t>
              </a:r>
              <a:r>
                <a:rPr lang="de-DE" sz="1400" dirty="0"/>
                <a:t> solid </a:t>
              </a:r>
              <a:r>
                <a:rPr lang="de-DE" sz="1400" dirty="0" err="1"/>
                <a:t>line</a:t>
              </a:r>
              <a:r>
                <a:rPr lang="de-DE" sz="1400" dirty="0"/>
                <a:t> </a:t>
              </a:r>
              <a:r>
                <a:rPr lang="de-DE" sz="1400" dirty="0" err="1"/>
                <a:t>of</a:t>
              </a:r>
              <a:r>
                <a:rPr lang="de-DE" sz="1400" dirty="0"/>
                <a:t> </a:t>
              </a:r>
              <a:r>
                <a:rPr lang="de-DE" sz="1400" dirty="0" err="1"/>
                <a:t>the</a:t>
              </a:r>
              <a:r>
                <a:rPr lang="de-DE" sz="1400" dirty="0"/>
                <a:t> title</a:t>
              </a:r>
              <a:endParaRPr lang="de-DE" sz="1200" dirty="0"/>
            </a:p>
          </p:txBody>
        </p:sp>
        <p:cxnSp>
          <p:nvCxnSpPr>
            <p:cNvPr id="19" name="Straight Connector 18"/>
            <p:cNvCxnSpPr/>
            <p:nvPr/>
          </p:nvCxnSpPr>
          <p:spPr>
            <a:xfrm>
              <a:off x="252000" y="3357000"/>
              <a:ext cx="2160000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 Placeholder 5"/>
          <p:cNvSpPr txBox="1">
            <a:spLocks/>
          </p:cNvSpPr>
          <p:nvPr/>
        </p:nvSpPr>
        <p:spPr>
          <a:xfrm>
            <a:off x="4224000" y="3357000"/>
            <a:ext cx="2160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1E6F7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858585"/>
                </a:solidFill>
              </a14:hiddenLine>
            </a:ext>
          </a:extLst>
        </p:spPr>
        <p:txBody>
          <a:bodyPr wrap="none" lIns="0" tIns="0" rIns="0" bIns="0">
            <a:noAutofit/>
          </a:bodyPr>
          <a:lstStyle>
            <a:lvl1pPr marL="1588" indent="-1588" algn="l" defTabSz="914400" rtl="0" eaLnBrk="1" latinLnBrk="0" hangingPunct="1">
              <a:spcBef>
                <a:spcPct val="20000"/>
              </a:spcBef>
              <a:buClr>
                <a:schemeClr val="accent2">
                  <a:lumMod val="75000"/>
                </a:schemeClr>
              </a:buClr>
              <a:buFont typeface="Arial Narrow" pitchFamily="34" charset="0"/>
              <a:buNone/>
              <a:defRPr sz="2000" b="1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2">
                  <a:lumMod val="75000"/>
                </a:schemeClr>
              </a:buClr>
              <a:buSzPct val="100000"/>
              <a:buFontTx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357188" algn="l" defTabSz="914400" rtl="0" eaLnBrk="1" latinLnBrk="0" hangingPunct="1">
              <a:spcBef>
                <a:spcPts val="100"/>
              </a:spcBef>
              <a:buClr>
                <a:schemeClr val="accent2">
                  <a:lumMod val="75000"/>
                </a:schemeClr>
              </a:buClr>
              <a:buSzPct val="100000"/>
              <a:buFont typeface="Arial Narrow" panose="020B0606020202030204" pitchFamily="34" charset="0"/>
              <a:buChar char="●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marR="0" indent="-277813" algn="l" defTabSz="804863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Narrow" panose="020B0606020202030204" pitchFamily="34" charset="0"/>
              <a:buChar char="−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spcBef>
                <a:spcPts val="100"/>
              </a:spcBef>
              <a:buClrTx/>
              <a:buFont typeface="Arial" panose="020B0604020202020204" pitchFamily="34" charset="0"/>
              <a:buChar char="•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2563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lvl="2" indent="-176213"/>
            <a:r>
              <a:rPr lang="de-DE" sz="1400" dirty="0" err="1"/>
              <a:t>use</a:t>
            </a:r>
            <a:r>
              <a:rPr lang="de-DE" sz="1400" dirty="0"/>
              <a:t> </a:t>
            </a:r>
            <a:r>
              <a:rPr lang="de-DE" sz="1400" dirty="0" err="1"/>
              <a:t>thi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list</a:t>
            </a:r>
            <a:r>
              <a:rPr lang="de-DE" sz="1400" dirty="0"/>
              <a:t> </a:t>
            </a:r>
            <a:r>
              <a:rPr lang="de-DE" sz="1400" dirty="0" err="1"/>
              <a:t>elements</a:t>
            </a:r>
            <a:endParaRPr lang="de-DE" sz="1400" dirty="0"/>
          </a:p>
          <a:p>
            <a:pPr marL="176213" lvl="2" indent="-176213"/>
            <a:r>
              <a:rPr lang="de-DE" sz="1400" dirty="0" err="1"/>
              <a:t>word</a:t>
            </a:r>
            <a:r>
              <a:rPr lang="de-DE" sz="1400" dirty="0"/>
              <a:t> </a:t>
            </a:r>
            <a:r>
              <a:rPr lang="de-DE" sz="1400" dirty="0" err="1"/>
              <a:t>wrap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on, </a:t>
            </a:r>
            <a:r>
              <a:rPr lang="de-DE" sz="1400" dirty="0" err="1"/>
              <a:t>don‘t</a:t>
            </a:r>
            <a:r>
              <a:rPr lang="de-DE" sz="1400" dirty="0"/>
              <a:t> </a:t>
            </a:r>
            <a:r>
              <a:rPr lang="de-DE" sz="1400" dirty="0" err="1"/>
              <a:t>change</a:t>
            </a:r>
            <a:r>
              <a:rPr lang="de-DE" sz="1400" dirty="0"/>
              <a:t> </a:t>
            </a:r>
            <a:r>
              <a:rPr lang="de-DE" sz="1400" dirty="0" err="1"/>
              <a:t>because</a:t>
            </a:r>
            <a:endParaRPr lang="de-DE" sz="1400" dirty="0"/>
          </a:p>
          <a:p>
            <a:pPr marL="176213" lvl="2" indent="-176213"/>
            <a:r>
              <a:rPr lang="de-DE" sz="1400" dirty="0" err="1"/>
              <a:t>shrink</a:t>
            </a:r>
            <a:r>
              <a:rPr lang="de-DE" sz="1400" dirty="0"/>
              <a:t> box </a:t>
            </a:r>
            <a:r>
              <a:rPr lang="de-DE" sz="1400" dirty="0" err="1"/>
              <a:t>is</a:t>
            </a:r>
            <a:r>
              <a:rPr lang="de-DE" sz="1400" dirty="0"/>
              <a:t> also on (</a:t>
            </a:r>
            <a:r>
              <a:rPr lang="de-DE" sz="1400" dirty="0" err="1"/>
              <a:t>this</a:t>
            </a:r>
            <a:r>
              <a:rPr lang="de-DE" sz="1400" dirty="0"/>
              <a:t> </a:t>
            </a:r>
            <a:r>
              <a:rPr lang="de-DE" sz="1400" dirty="0" err="1"/>
              <a:t>varie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height</a:t>
            </a:r>
            <a:r>
              <a:rPr lang="de-DE" sz="1400" dirty="0"/>
              <a:t> but </a:t>
            </a:r>
            <a:r>
              <a:rPr lang="de-DE" sz="1400" dirty="0" err="1"/>
              <a:t>width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fixed</a:t>
            </a:r>
            <a:r>
              <a:rPr lang="de-DE" sz="1400" dirty="0"/>
              <a:t>)</a:t>
            </a:r>
            <a:endParaRPr lang="de-DE" sz="1200" dirty="0"/>
          </a:p>
        </p:txBody>
      </p:sp>
      <p:sp>
        <p:nvSpPr>
          <p:cNvPr id="23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2047485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 err="1"/>
              <a:t>Colour</a:t>
            </a:r>
            <a:r>
              <a:rPr lang="de-DE" dirty="0"/>
              <a:t> Chart</a:t>
            </a:r>
          </a:p>
        </p:txBody>
      </p:sp>
      <p:sp>
        <p:nvSpPr>
          <p:cNvPr id="68" name="Slide Number Placehold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FFF6660-965A-4D59-A4F1-0EDF90BDA97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3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8382801" y="6537415"/>
            <a:ext cx="953" cy="1962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9283840" y="6538844"/>
            <a:ext cx="953" cy="1962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0051468" y="6534557"/>
            <a:ext cx="953" cy="1962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95" t="6201" r="6177" b="52461"/>
          <a:stretch/>
        </p:blipFill>
        <p:spPr bwMode="auto">
          <a:xfrm>
            <a:off x="8184001" y="1438304"/>
            <a:ext cx="2231588" cy="4061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llipse 6"/>
          <p:cNvSpPr/>
          <p:nvPr/>
        </p:nvSpPr>
        <p:spPr>
          <a:xfrm>
            <a:off x="4008000" y="4293000"/>
            <a:ext cx="216000" cy="216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1</a:t>
            </a:r>
          </a:p>
        </p:txBody>
      </p:sp>
      <p:sp>
        <p:nvSpPr>
          <p:cNvPr id="111" name="Ellipse 110"/>
          <p:cNvSpPr>
            <a:spLocks noChangeAspect="1"/>
          </p:cNvSpPr>
          <p:nvPr/>
        </p:nvSpPr>
        <p:spPr>
          <a:xfrm>
            <a:off x="9083795" y="1887400"/>
            <a:ext cx="180000" cy="180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1</a:t>
            </a:r>
          </a:p>
        </p:txBody>
      </p:sp>
      <p:sp>
        <p:nvSpPr>
          <p:cNvPr id="112" name="Ellipse 111"/>
          <p:cNvSpPr/>
          <p:nvPr/>
        </p:nvSpPr>
        <p:spPr>
          <a:xfrm>
            <a:off x="4008000" y="4653000"/>
            <a:ext cx="216000" cy="216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2</a:t>
            </a:r>
          </a:p>
        </p:txBody>
      </p:sp>
      <p:sp>
        <p:nvSpPr>
          <p:cNvPr id="139" name="Ellipse 138"/>
          <p:cNvSpPr>
            <a:spLocks noChangeAspect="1"/>
          </p:cNvSpPr>
          <p:nvPr/>
        </p:nvSpPr>
        <p:spPr>
          <a:xfrm>
            <a:off x="9518100" y="1887400"/>
            <a:ext cx="180000" cy="180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2</a:t>
            </a:r>
          </a:p>
        </p:txBody>
      </p:sp>
      <p:sp>
        <p:nvSpPr>
          <p:cNvPr id="140" name="Ellipse 139"/>
          <p:cNvSpPr/>
          <p:nvPr/>
        </p:nvSpPr>
        <p:spPr>
          <a:xfrm>
            <a:off x="6960000" y="4293000"/>
            <a:ext cx="216000" cy="216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3</a:t>
            </a:r>
          </a:p>
        </p:txBody>
      </p:sp>
      <p:sp>
        <p:nvSpPr>
          <p:cNvPr id="141" name="Ellipse 140"/>
          <p:cNvSpPr/>
          <p:nvPr/>
        </p:nvSpPr>
        <p:spPr>
          <a:xfrm>
            <a:off x="6960000" y="5013000"/>
            <a:ext cx="216000" cy="216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4</a:t>
            </a:r>
          </a:p>
        </p:txBody>
      </p:sp>
      <p:sp>
        <p:nvSpPr>
          <p:cNvPr id="142" name="Ellipse 141"/>
          <p:cNvSpPr>
            <a:spLocks noChangeAspect="1"/>
          </p:cNvSpPr>
          <p:nvPr/>
        </p:nvSpPr>
        <p:spPr>
          <a:xfrm>
            <a:off x="9743525" y="1887400"/>
            <a:ext cx="180000" cy="180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3</a:t>
            </a:r>
          </a:p>
        </p:txBody>
      </p:sp>
      <p:sp>
        <p:nvSpPr>
          <p:cNvPr id="143" name="Ellipse 142"/>
          <p:cNvSpPr>
            <a:spLocks noChangeAspect="1"/>
          </p:cNvSpPr>
          <p:nvPr/>
        </p:nvSpPr>
        <p:spPr>
          <a:xfrm>
            <a:off x="9959525" y="1887400"/>
            <a:ext cx="180000" cy="180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4</a:t>
            </a:r>
          </a:p>
        </p:txBody>
      </p:sp>
      <p:sp>
        <p:nvSpPr>
          <p:cNvPr id="144" name="Ellipse 143"/>
          <p:cNvSpPr>
            <a:spLocks noChangeAspect="1"/>
          </p:cNvSpPr>
          <p:nvPr/>
        </p:nvSpPr>
        <p:spPr>
          <a:xfrm>
            <a:off x="10191766" y="1887400"/>
            <a:ext cx="180000" cy="180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5</a:t>
            </a:r>
          </a:p>
        </p:txBody>
      </p:sp>
      <p:sp>
        <p:nvSpPr>
          <p:cNvPr id="145" name="Ellipse 144"/>
          <p:cNvSpPr/>
          <p:nvPr/>
        </p:nvSpPr>
        <p:spPr>
          <a:xfrm>
            <a:off x="6960000" y="1734525"/>
            <a:ext cx="216000" cy="216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5</a:t>
            </a:r>
          </a:p>
        </p:txBody>
      </p:sp>
      <p:sp>
        <p:nvSpPr>
          <p:cNvPr id="146" name="Ellipse 145"/>
          <p:cNvSpPr>
            <a:spLocks noChangeAspect="1"/>
          </p:cNvSpPr>
          <p:nvPr/>
        </p:nvSpPr>
        <p:spPr>
          <a:xfrm>
            <a:off x="9312495" y="2769400"/>
            <a:ext cx="180000" cy="180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6</a:t>
            </a:r>
          </a:p>
        </p:txBody>
      </p:sp>
      <p:sp>
        <p:nvSpPr>
          <p:cNvPr id="147" name="Ellipse 146"/>
          <p:cNvSpPr/>
          <p:nvPr/>
        </p:nvSpPr>
        <p:spPr>
          <a:xfrm>
            <a:off x="8167272" y="5697000"/>
            <a:ext cx="216000" cy="21600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/>
              <a:t>6</a:t>
            </a:r>
          </a:p>
        </p:txBody>
      </p:sp>
      <p:sp>
        <p:nvSpPr>
          <p:cNvPr id="148" name="Rectangle 100"/>
          <p:cNvSpPr/>
          <p:nvPr/>
        </p:nvSpPr>
        <p:spPr>
          <a:xfrm>
            <a:off x="8438100" y="5661000"/>
            <a:ext cx="2160000" cy="28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266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b="1" dirty="0">
                <a:solidFill>
                  <a:schemeClr val="tx1"/>
                </a:solidFill>
                <a:latin typeface="Arial Narrow" panose="020B0606020202030204" pitchFamily="34" charset="0"/>
              </a:rPr>
              <a:t>Color </a:t>
            </a:r>
            <a:r>
              <a:rPr lang="en-US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Bulletpoint</a:t>
            </a:r>
            <a:endParaRPr lang="de-DE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9" name="Rectangle 78"/>
          <p:cNvSpPr/>
          <p:nvPr/>
        </p:nvSpPr>
        <p:spPr>
          <a:xfrm>
            <a:off x="1776000" y="1701000"/>
            <a:ext cx="1440000" cy="360000"/>
          </a:xfrm>
          <a:prstGeom prst="rect">
            <a:avLst/>
          </a:prstGeom>
          <a:solidFill>
            <a:srgbClr val="1D1D1D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029/029/02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50" name="Rectangle 79"/>
          <p:cNvSpPr/>
          <p:nvPr/>
        </p:nvSpPr>
        <p:spPr>
          <a:xfrm>
            <a:off x="1776000" y="2061000"/>
            <a:ext cx="1440000" cy="360000"/>
          </a:xfrm>
          <a:prstGeom prst="rect">
            <a:avLst/>
          </a:prstGeom>
          <a:solidFill>
            <a:srgbClr val="4A4A4A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074/074/074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51" name="Rectangle 82"/>
          <p:cNvSpPr/>
          <p:nvPr/>
        </p:nvSpPr>
        <p:spPr>
          <a:xfrm>
            <a:off x="3360000" y="1701000"/>
            <a:ext cx="576000" cy="360000"/>
          </a:xfrm>
          <a:prstGeom prst="rect">
            <a:avLst/>
          </a:prstGeom>
          <a:solidFill>
            <a:srgbClr val="1D1D1D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10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52" name="Rectangle 83"/>
          <p:cNvSpPr/>
          <p:nvPr/>
        </p:nvSpPr>
        <p:spPr>
          <a:xfrm>
            <a:off x="3360000" y="2061000"/>
            <a:ext cx="576000" cy="360000"/>
          </a:xfrm>
          <a:prstGeom prst="rect">
            <a:avLst/>
          </a:prstGeom>
          <a:solidFill>
            <a:srgbClr val="1D1D1D">
              <a:alpha val="80000"/>
            </a:srgbClr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8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53" name="Rectangle 84"/>
          <p:cNvSpPr/>
          <p:nvPr/>
        </p:nvSpPr>
        <p:spPr>
          <a:xfrm>
            <a:off x="3360000" y="2421000"/>
            <a:ext cx="576000" cy="360000"/>
          </a:xfrm>
          <a:prstGeom prst="rect">
            <a:avLst/>
          </a:prstGeom>
          <a:solidFill>
            <a:srgbClr val="1D1D1D">
              <a:alpha val="50196"/>
            </a:srgbClr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5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54" name="Rectangle 85"/>
          <p:cNvSpPr/>
          <p:nvPr/>
        </p:nvSpPr>
        <p:spPr>
          <a:xfrm>
            <a:off x="3360000" y="2781000"/>
            <a:ext cx="576000" cy="360000"/>
          </a:xfrm>
          <a:prstGeom prst="rect">
            <a:avLst/>
          </a:prstGeom>
          <a:solidFill>
            <a:srgbClr val="1D1D1D">
              <a:alpha val="30196"/>
            </a:srgbClr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prstClr val="black"/>
                </a:solidFill>
              </a:rPr>
              <a:t>30%</a:t>
            </a:r>
            <a:endParaRPr lang="de-DE" sz="1400" dirty="0"/>
          </a:p>
        </p:txBody>
      </p:sp>
      <p:sp>
        <p:nvSpPr>
          <p:cNvPr id="155" name="Rectangle 46"/>
          <p:cNvSpPr/>
          <p:nvPr/>
        </p:nvSpPr>
        <p:spPr>
          <a:xfrm>
            <a:off x="1776000" y="2421000"/>
            <a:ext cx="1440000" cy="360000"/>
          </a:xfrm>
          <a:prstGeom prst="rect">
            <a:avLst/>
          </a:prstGeom>
          <a:solidFill>
            <a:srgbClr val="8E8E8E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prstClr val="white"/>
                </a:solidFill>
              </a:rPr>
              <a:t>RGB 142/142/142</a:t>
            </a: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56" name="Rectangle 47"/>
          <p:cNvSpPr/>
          <p:nvPr/>
        </p:nvSpPr>
        <p:spPr>
          <a:xfrm>
            <a:off x="1776000" y="2781000"/>
            <a:ext cx="1440000" cy="360000"/>
          </a:xfrm>
          <a:prstGeom prst="rect">
            <a:avLst/>
          </a:prstGeom>
          <a:solidFill>
            <a:srgbClr val="BBBBBB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RGB 187/187/187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157" name="Group 5"/>
          <p:cNvGrpSpPr/>
          <p:nvPr/>
        </p:nvGrpSpPr>
        <p:grpSpPr>
          <a:xfrm>
            <a:off x="1776000" y="1341000"/>
            <a:ext cx="2160000" cy="288000"/>
            <a:chOff x="252000" y="1125000"/>
            <a:chExt cx="3384000" cy="288000"/>
          </a:xfrm>
        </p:grpSpPr>
        <p:sp>
          <p:nvSpPr>
            <p:cNvPr id="158" name="Rectangle 86"/>
            <p:cNvSpPr/>
            <p:nvPr/>
          </p:nvSpPr>
          <p:spPr>
            <a:xfrm>
              <a:off x="252000" y="1125000"/>
              <a:ext cx="3384000" cy="288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2663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Black</a:t>
              </a:r>
              <a:endParaRPr lang="de-DE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159" name="Straight Connector 4"/>
            <p:cNvCxnSpPr/>
            <p:nvPr/>
          </p:nvCxnSpPr>
          <p:spPr>
            <a:xfrm>
              <a:off x="252000" y="1413000"/>
              <a:ext cx="3384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0" name="Rectangle 63"/>
          <p:cNvSpPr/>
          <p:nvPr/>
        </p:nvSpPr>
        <p:spPr>
          <a:xfrm>
            <a:off x="3360000" y="1485000"/>
            <a:ext cx="576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266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800" dirty="0">
                <a:solidFill>
                  <a:schemeClr val="tx1"/>
                </a:solidFill>
                <a:latin typeface="Arial Narrow" panose="020B0606020202030204" pitchFamily="34" charset="0"/>
              </a:rPr>
              <a:t>Transparent</a:t>
            </a:r>
            <a:endParaRPr lang="de-DE" sz="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1" name="Rectangle 64"/>
          <p:cNvSpPr/>
          <p:nvPr/>
        </p:nvSpPr>
        <p:spPr>
          <a:xfrm>
            <a:off x="1776000" y="4221000"/>
            <a:ext cx="1440000" cy="360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000/038/09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2" name="Rectangle 65"/>
          <p:cNvSpPr/>
          <p:nvPr/>
        </p:nvSpPr>
        <p:spPr>
          <a:xfrm>
            <a:off x="1776000" y="4581000"/>
            <a:ext cx="1440000" cy="360000"/>
          </a:xfrm>
          <a:prstGeom prst="rect">
            <a:avLst/>
          </a:prstGeom>
          <a:solidFill>
            <a:srgbClr val="335182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051/081/130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3" name="Rectangle 72"/>
          <p:cNvSpPr/>
          <p:nvPr/>
        </p:nvSpPr>
        <p:spPr>
          <a:xfrm>
            <a:off x="3360000" y="4221000"/>
            <a:ext cx="576000" cy="360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10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4" name="Rectangle 105"/>
          <p:cNvSpPr/>
          <p:nvPr/>
        </p:nvSpPr>
        <p:spPr>
          <a:xfrm>
            <a:off x="3360000" y="4581000"/>
            <a:ext cx="576000" cy="360000"/>
          </a:xfrm>
          <a:prstGeom prst="rect">
            <a:avLst/>
          </a:prstGeom>
          <a:solidFill>
            <a:srgbClr val="002663">
              <a:alpha val="80000"/>
            </a:srgbClr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8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5" name="Rectangle 106"/>
          <p:cNvSpPr/>
          <p:nvPr/>
        </p:nvSpPr>
        <p:spPr>
          <a:xfrm>
            <a:off x="3360000" y="4941000"/>
            <a:ext cx="576000" cy="360000"/>
          </a:xfrm>
          <a:prstGeom prst="rect">
            <a:avLst/>
          </a:prstGeom>
          <a:solidFill>
            <a:srgbClr val="002663">
              <a:alpha val="50196"/>
            </a:srgbClr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5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6" name="Rectangle 107"/>
          <p:cNvSpPr/>
          <p:nvPr/>
        </p:nvSpPr>
        <p:spPr>
          <a:xfrm>
            <a:off x="3360000" y="5301000"/>
            <a:ext cx="576000" cy="360000"/>
          </a:xfrm>
          <a:prstGeom prst="rect">
            <a:avLst/>
          </a:prstGeom>
          <a:solidFill>
            <a:srgbClr val="002663">
              <a:alpha val="30196"/>
            </a:srgbClr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prstClr val="black"/>
                </a:solidFill>
              </a:rPr>
              <a:t>30%</a:t>
            </a:r>
            <a:endParaRPr lang="de-DE" sz="1400" dirty="0"/>
          </a:p>
        </p:txBody>
      </p:sp>
      <p:sp>
        <p:nvSpPr>
          <p:cNvPr id="167" name="Rectangle 108"/>
          <p:cNvSpPr/>
          <p:nvPr/>
        </p:nvSpPr>
        <p:spPr>
          <a:xfrm>
            <a:off x="1776000" y="4941000"/>
            <a:ext cx="1440000" cy="360000"/>
          </a:xfrm>
          <a:prstGeom prst="rect">
            <a:avLst/>
          </a:prstGeom>
          <a:solidFill>
            <a:srgbClr val="7F92B1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127/146/177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8" name="Rectangle 109"/>
          <p:cNvSpPr/>
          <p:nvPr/>
        </p:nvSpPr>
        <p:spPr>
          <a:xfrm>
            <a:off x="1776000" y="5301000"/>
            <a:ext cx="1440000" cy="360000"/>
          </a:xfrm>
          <a:prstGeom prst="rect">
            <a:avLst/>
          </a:prstGeom>
          <a:solidFill>
            <a:srgbClr val="B2BDD0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prstClr val="black"/>
                </a:solidFill>
              </a:rPr>
              <a:t>RGB 178/189/208</a:t>
            </a:r>
            <a:endParaRPr lang="de-DE" sz="1400" dirty="0"/>
          </a:p>
        </p:txBody>
      </p:sp>
      <p:grpSp>
        <p:nvGrpSpPr>
          <p:cNvPr id="169" name="Group 118"/>
          <p:cNvGrpSpPr/>
          <p:nvPr/>
        </p:nvGrpSpPr>
        <p:grpSpPr>
          <a:xfrm>
            <a:off x="1776000" y="3861000"/>
            <a:ext cx="2160000" cy="288000"/>
            <a:chOff x="252000" y="1125000"/>
            <a:chExt cx="3384000" cy="288000"/>
          </a:xfrm>
        </p:grpSpPr>
        <p:sp>
          <p:nvSpPr>
            <p:cNvPr id="170" name="Rectangle 119"/>
            <p:cNvSpPr/>
            <p:nvPr/>
          </p:nvSpPr>
          <p:spPr>
            <a:xfrm>
              <a:off x="252000" y="1125000"/>
              <a:ext cx="3384000" cy="288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2663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b="1" dirty="0">
                  <a:solidFill>
                    <a:schemeClr val="tx1"/>
                  </a:solidFill>
                </a:rPr>
                <a:t>Dark Blue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1" name="Straight Connector 120"/>
            <p:cNvCxnSpPr/>
            <p:nvPr/>
          </p:nvCxnSpPr>
          <p:spPr>
            <a:xfrm>
              <a:off x="252000" y="1413000"/>
              <a:ext cx="3384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Rectangle 125"/>
          <p:cNvSpPr/>
          <p:nvPr/>
        </p:nvSpPr>
        <p:spPr>
          <a:xfrm>
            <a:off x="3360000" y="4005000"/>
            <a:ext cx="576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266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ransparent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173" name="Rectangle 91"/>
          <p:cNvSpPr/>
          <p:nvPr/>
        </p:nvSpPr>
        <p:spPr>
          <a:xfrm>
            <a:off x="4656000" y="1701000"/>
            <a:ext cx="1440000" cy="360000"/>
          </a:xfrm>
          <a:prstGeom prst="rect">
            <a:avLst/>
          </a:prstGeom>
          <a:solidFill>
            <a:srgbClr val="666666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102/102/10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74" name="Rectangle 92"/>
          <p:cNvSpPr/>
          <p:nvPr/>
        </p:nvSpPr>
        <p:spPr>
          <a:xfrm>
            <a:off x="4656000" y="2061000"/>
            <a:ext cx="1440000" cy="360000"/>
          </a:xfrm>
          <a:prstGeom prst="rect">
            <a:avLst/>
          </a:prstGeom>
          <a:solidFill>
            <a:srgbClr val="858585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133/133/133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75" name="Rectangle 93"/>
          <p:cNvSpPr/>
          <p:nvPr/>
        </p:nvSpPr>
        <p:spPr>
          <a:xfrm>
            <a:off x="6240000" y="1701000"/>
            <a:ext cx="576000" cy="360000"/>
          </a:xfrm>
          <a:prstGeom prst="rect">
            <a:avLst/>
          </a:prstGeom>
          <a:solidFill>
            <a:srgbClr val="666666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10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76" name="Rectangle 94"/>
          <p:cNvSpPr/>
          <p:nvPr/>
        </p:nvSpPr>
        <p:spPr>
          <a:xfrm>
            <a:off x="6240000" y="2061000"/>
            <a:ext cx="576000" cy="360000"/>
          </a:xfrm>
          <a:prstGeom prst="rect">
            <a:avLst/>
          </a:prstGeom>
          <a:solidFill>
            <a:srgbClr val="666666">
              <a:alpha val="80000"/>
            </a:srgb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8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77" name="Rectangle 95"/>
          <p:cNvSpPr/>
          <p:nvPr/>
        </p:nvSpPr>
        <p:spPr>
          <a:xfrm>
            <a:off x="6240000" y="2421000"/>
            <a:ext cx="576000" cy="360000"/>
          </a:xfrm>
          <a:prstGeom prst="rect">
            <a:avLst/>
          </a:prstGeom>
          <a:solidFill>
            <a:srgbClr val="666666">
              <a:alpha val="50196"/>
            </a:srgb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5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78" name="Rectangle 96"/>
          <p:cNvSpPr/>
          <p:nvPr/>
        </p:nvSpPr>
        <p:spPr>
          <a:xfrm>
            <a:off x="6240000" y="2781000"/>
            <a:ext cx="576000" cy="360000"/>
          </a:xfrm>
          <a:prstGeom prst="rect">
            <a:avLst/>
          </a:prstGeom>
          <a:solidFill>
            <a:srgbClr val="666666">
              <a:alpha val="30196"/>
            </a:srgb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30%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9" name="Rectangle 97"/>
          <p:cNvSpPr/>
          <p:nvPr/>
        </p:nvSpPr>
        <p:spPr>
          <a:xfrm>
            <a:off x="4656000" y="2421000"/>
            <a:ext cx="1440000" cy="360000"/>
          </a:xfrm>
          <a:prstGeom prst="rect">
            <a:avLst/>
          </a:prstGeom>
          <a:solidFill>
            <a:srgbClr val="B2B2B2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prstClr val="white"/>
                </a:solidFill>
              </a:rPr>
              <a:t>RGB 178/178/178</a:t>
            </a: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80" name="Rectangle 98"/>
          <p:cNvSpPr/>
          <p:nvPr/>
        </p:nvSpPr>
        <p:spPr>
          <a:xfrm>
            <a:off x="4656000" y="2781000"/>
            <a:ext cx="1440000" cy="360000"/>
          </a:xfrm>
          <a:prstGeom prst="rect">
            <a:avLst/>
          </a:prstGeom>
          <a:solidFill>
            <a:srgbClr val="D1D1D1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RGB 209/209/209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181" name="Group 99"/>
          <p:cNvGrpSpPr/>
          <p:nvPr/>
        </p:nvGrpSpPr>
        <p:grpSpPr>
          <a:xfrm>
            <a:off x="4656000" y="1341000"/>
            <a:ext cx="2160000" cy="288000"/>
            <a:chOff x="252000" y="1125000"/>
            <a:chExt cx="3384000" cy="288000"/>
          </a:xfrm>
        </p:grpSpPr>
        <p:sp>
          <p:nvSpPr>
            <p:cNvPr id="182" name="Rectangle 100"/>
            <p:cNvSpPr/>
            <p:nvPr/>
          </p:nvSpPr>
          <p:spPr>
            <a:xfrm>
              <a:off x="252000" y="1125000"/>
              <a:ext cx="3384000" cy="288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2663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Grey</a:t>
              </a:r>
              <a:endParaRPr lang="de-DE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183" name="Straight Connector 101"/>
            <p:cNvCxnSpPr/>
            <p:nvPr/>
          </p:nvCxnSpPr>
          <p:spPr>
            <a:xfrm>
              <a:off x="252000" y="1413000"/>
              <a:ext cx="3384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4" name="Rectangle 102"/>
          <p:cNvSpPr/>
          <p:nvPr/>
        </p:nvSpPr>
        <p:spPr>
          <a:xfrm>
            <a:off x="6240000" y="1485000"/>
            <a:ext cx="576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266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800" dirty="0">
                <a:solidFill>
                  <a:schemeClr val="tx1"/>
                </a:solidFill>
                <a:latin typeface="Arial Narrow" panose="020B0606020202030204" pitchFamily="34" charset="0"/>
              </a:rPr>
              <a:t>Transparent</a:t>
            </a:r>
            <a:endParaRPr lang="de-DE" sz="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5" name="Rectangle 103"/>
          <p:cNvSpPr/>
          <p:nvPr/>
        </p:nvSpPr>
        <p:spPr>
          <a:xfrm>
            <a:off x="4656000" y="4221000"/>
            <a:ext cx="1440000" cy="360000"/>
          </a:xfrm>
          <a:prstGeom prst="rect">
            <a:avLst/>
          </a:prstGeom>
          <a:solidFill>
            <a:srgbClr val="68ACE5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104/172/22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6" name="Rectangle 104"/>
          <p:cNvSpPr/>
          <p:nvPr/>
        </p:nvSpPr>
        <p:spPr>
          <a:xfrm>
            <a:off x="4656000" y="4581000"/>
            <a:ext cx="1440000" cy="360000"/>
          </a:xfrm>
          <a:prstGeom prst="rect">
            <a:avLst/>
          </a:prstGeom>
          <a:solidFill>
            <a:srgbClr val="86BDEA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GB 134/189/234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7" name="Rectangle 126"/>
          <p:cNvSpPr/>
          <p:nvPr/>
        </p:nvSpPr>
        <p:spPr>
          <a:xfrm>
            <a:off x="6240000" y="4221000"/>
            <a:ext cx="576000" cy="360000"/>
          </a:xfrm>
          <a:prstGeom prst="rect">
            <a:avLst/>
          </a:prstGeom>
          <a:solidFill>
            <a:srgbClr val="68ACE5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10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8" name="Rectangle 127"/>
          <p:cNvSpPr/>
          <p:nvPr/>
        </p:nvSpPr>
        <p:spPr>
          <a:xfrm>
            <a:off x="6240000" y="4581000"/>
            <a:ext cx="576000" cy="360000"/>
          </a:xfrm>
          <a:prstGeom prst="rect">
            <a:avLst/>
          </a:prstGeom>
          <a:solidFill>
            <a:srgbClr val="68ACE5">
              <a:alpha val="80000"/>
            </a:srgb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8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9" name="Rectangle 128"/>
          <p:cNvSpPr/>
          <p:nvPr/>
        </p:nvSpPr>
        <p:spPr>
          <a:xfrm>
            <a:off x="6240000" y="4941000"/>
            <a:ext cx="576000" cy="360000"/>
          </a:xfrm>
          <a:prstGeom prst="rect">
            <a:avLst/>
          </a:prstGeom>
          <a:solidFill>
            <a:srgbClr val="68ACE5">
              <a:alpha val="50196"/>
            </a:srgb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50%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0" name="Rectangle 129"/>
          <p:cNvSpPr/>
          <p:nvPr/>
        </p:nvSpPr>
        <p:spPr>
          <a:xfrm>
            <a:off x="6240000" y="5301000"/>
            <a:ext cx="576000" cy="360000"/>
          </a:xfrm>
          <a:prstGeom prst="rect">
            <a:avLst/>
          </a:prstGeom>
          <a:solidFill>
            <a:srgbClr val="68ACE5">
              <a:alpha val="30196"/>
            </a:srgbClr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30%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1" name="Rectangle 130"/>
          <p:cNvSpPr/>
          <p:nvPr/>
        </p:nvSpPr>
        <p:spPr>
          <a:xfrm>
            <a:off x="4656000" y="4941000"/>
            <a:ext cx="1440000" cy="360000"/>
          </a:xfrm>
          <a:prstGeom prst="rect">
            <a:avLst/>
          </a:prstGeom>
          <a:solidFill>
            <a:srgbClr val="B3D5F2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prstClr val="white"/>
                </a:solidFill>
              </a:rPr>
              <a:t>RGB 179/213/242</a:t>
            </a: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92" name="Rectangle 131"/>
          <p:cNvSpPr/>
          <p:nvPr/>
        </p:nvSpPr>
        <p:spPr>
          <a:xfrm>
            <a:off x="4656000" y="5301000"/>
            <a:ext cx="1440000" cy="360000"/>
          </a:xfrm>
          <a:prstGeom prst="rect">
            <a:avLst/>
          </a:prstGeom>
          <a:solidFill>
            <a:srgbClr val="D1E6F7"/>
          </a:solidFill>
          <a:ln w="12700" cap="flat" cmpd="sng" algn="ctr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RGB 209/230/247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193" name="Group 132"/>
          <p:cNvGrpSpPr/>
          <p:nvPr/>
        </p:nvGrpSpPr>
        <p:grpSpPr>
          <a:xfrm>
            <a:off x="4656000" y="3861000"/>
            <a:ext cx="2160000" cy="288000"/>
            <a:chOff x="252000" y="1125000"/>
            <a:chExt cx="3384000" cy="288000"/>
          </a:xfrm>
        </p:grpSpPr>
        <p:sp>
          <p:nvSpPr>
            <p:cNvPr id="194" name="Rectangle 133"/>
            <p:cNvSpPr/>
            <p:nvPr/>
          </p:nvSpPr>
          <p:spPr>
            <a:xfrm>
              <a:off x="252000" y="1125000"/>
              <a:ext cx="3384000" cy="288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2663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Light Blue</a:t>
              </a:r>
              <a:endParaRPr lang="de-DE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195" name="Straight Connector 134"/>
            <p:cNvCxnSpPr/>
            <p:nvPr/>
          </p:nvCxnSpPr>
          <p:spPr>
            <a:xfrm>
              <a:off x="252000" y="1413000"/>
              <a:ext cx="33840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6" name="Rectangle 135"/>
          <p:cNvSpPr/>
          <p:nvPr/>
        </p:nvSpPr>
        <p:spPr>
          <a:xfrm>
            <a:off x="6240000" y="4005000"/>
            <a:ext cx="576000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266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800" dirty="0">
                <a:solidFill>
                  <a:schemeClr val="tx1"/>
                </a:solidFill>
                <a:latin typeface="Arial Narrow" panose="020B0606020202030204" pitchFamily="34" charset="0"/>
              </a:rPr>
              <a:t>Transparent</a:t>
            </a:r>
            <a:endParaRPr lang="de-DE" sz="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10374563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0" y="36000"/>
            <a:ext cx="9407451" cy="792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tickers / Logo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4090E8E-FE56-4F17-9E46-D0FA12678F25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34" name="Footer Placehold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Title</a:t>
            </a:r>
          </a:p>
        </p:txBody>
      </p:sp>
      <p:grpSp>
        <p:nvGrpSpPr>
          <p:cNvPr id="6" name="Gruppieren 54"/>
          <p:cNvGrpSpPr/>
          <p:nvPr/>
        </p:nvGrpSpPr>
        <p:grpSpPr>
          <a:xfrm>
            <a:off x="1974199" y="3280873"/>
            <a:ext cx="253274" cy="221018"/>
            <a:chOff x="323850" y="4070270"/>
            <a:chExt cx="253274" cy="221018"/>
          </a:xfrm>
        </p:grpSpPr>
        <p:cxnSp>
          <p:nvCxnSpPr>
            <p:cNvPr id="7" name="Gerade Verbindung 83"/>
            <p:cNvCxnSpPr>
              <a:stCxn id="9" idx="2"/>
              <a:endCxn id="9" idx="0"/>
            </p:cNvCxnSpPr>
            <p:nvPr/>
          </p:nvCxnSpPr>
          <p:spPr bwMode="gray">
            <a:xfrm>
              <a:off x="323850" y="4070270"/>
              <a:ext cx="253274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83"/>
            <p:cNvCxnSpPr>
              <a:stCxn id="9" idx="4"/>
              <a:endCxn id="9" idx="6"/>
            </p:cNvCxnSpPr>
            <p:nvPr/>
          </p:nvCxnSpPr>
          <p:spPr bwMode="gray">
            <a:xfrm>
              <a:off x="323850" y="4291288"/>
              <a:ext cx="253274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9" name="Left-Right Arrow 121"/>
            <p:cNvSpPr/>
            <p:nvPr/>
          </p:nvSpPr>
          <p:spPr bwMode="gray">
            <a:xfrm>
              <a:off x="323850" y="4070270"/>
              <a:ext cx="253274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TBD</a:t>
              </a:r>
            </a:p>
          </p:txBody>
        </p:sp>
      </p:grpSp>
      <p:grpSp>
        <p:nvGrpSpPr>
          <p:cNvPr id="10" name="Gruppieren 55"/>
          <p:cNvGrpSpPr/>
          <p:nvPr/>
        </p:nvGrpSpPr>
        <p:grpSpPr>
          <a:xfrm>
            <a:off x="1974204" y="2879170"/>
            <a:ext cx="631583" cy="221018"/>
            <a:chOff x="93018" y="4070270"/>
            <a:chExt cx="631583" cy="221018"/>
          </a:xfrm>
        </p:grpSpPr>
        <p:cxnSp>
          <p:nvCxnSpPr>
            <p:cNvPr id="11" name="Gerade Verbindung 83"/>
            <p:cNvCxnSpPr>
              <a:stCxn id="13" idx="2"/>
              <a:endCxn id="13" idx="0"/>
            </p:cNvCxnSpPr>
            <p:nvPr/>
          </p:nvCxnSpPr>
          <p:spPr bwMode="gray">
            <a:xfrm>
              <a:off x="93018" y="4070270"/>
              <a:ext cx="63158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Gerade Verbindung 83"/>
            <p:cNvCxnSpPr>
              <a:stCxn id="13" idx="4"/>
              <a:endCxn id="13" idx="6"/>
            </p:cNvCxnSpPr>
            <p:nvPr/>
          </p:nvCxnSpPr>
          <p:spPr bwMode="gray">
            <a:xfrm>
              <a:off x="93018" y="4291288"/>
              <a:ext cx="63158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13" name="Left-Right Arrow 121"/>
            <p:cNvSpPr/>
            <p:nvPr/>
          </p:nvSpPr>
          <p:spPr bwMode="gray">
            <a:xfrm>
              <a:off x="93018" y="4070270"/>
              <a:ext cx="631583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ENTWURF</a:t>
              </a:r>
            </a:p>
          </p:txBody>
        </p:sp>
      </p:grpSp>
      <p:grpSp>
        <p:nvGrpSpPr>
          <p:cNvPr id="14" name="Gruppieren 59"/>
          <p:cNvGrpSpPr/>
          <p:nvPr/>
        </p:nvGrpSpPr>
        <p:grpSpPr>
          <a:xfrm>
            <a:off x="3635950" y="2879170"/>
            <a:ext cx="421590" cy="221018"/>
            <a:chOff x="93018" y="4070270"/>
            <a:chExt cx="421590" cy="221018"/>
          </a:xfrm>
        </p:grpSpPr>
        <p:cxnSp>
          <p:nvCxnSpPr>
            <p:cNvPr id="15" name="Gerade Verbindung 83"/>
            <p:cNvCxnSpPr>
              <a:stCxn id="17" idx="2"/>
              <a:endCxn id="17" idx="0"/>
            </p:cNvCxnSpPr>
            <p:nvPr/>
          </p:nvCxnSpPr>
          <p:spPr bwMode="gray">
            <a:xfrm>
              <a:off x="93018" y="4070270"/>
              <a:ext cx="42159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Gerade Verbindung 83"/>
            <p:cNvCxnSpPr>
              <a:stCxn id="17" idx="4"/>
              <a:endCxn id="17" idx="6"/>
            </p:cNvCxnSpPr>
            <p:nvPr/>
          </p:nvCxnSpPr>
          <p:spPr bwMode="gray">
            <a:xfrm>
              <a:off x="93018" y="4291288"/>
              <a:ext cx="42159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17" name="Left-Right Arrow 121"/>
            <p:cNvSpPr/>
            <p:nvPr/>
          </p:nvSpPr>
          <p:spPr bwMode="gray">
            <a:xfrm>
              <a:off x="93018" y="4070270"/>
              <a:ext cx="421590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DRAFT</a:t>
              </a:r>
            </a:p>
          </p:txBody>
        </p:sp>
      </p:grpSp>
      <p:grpSp>
        <p:nvGrpSpPr>
          <p:cNvPr id="18" name="Gruppieren 63"/>
          <p:cNvGrpSpPr/>
          <p:nvPr/>
        </p:nvGrpSpPr>
        <p:grpSpPr>
          <a:xfrm>
            <a:off x="1974204" y="2477467"/>
            <a:ext cx="858633" cy="221018"/>
            <a:chOff x="93018" y="4070270"/>
            <a:chExt cx="858633" cy="221018"/>
          </a:xfrm>
        </p:grpSpPr>
        <p:cxnSp>
          <p:nvCxnSpPr>
            <p:cNvPr id="19" name="Gerade Verbindung 83"/>
            <p:cNvCxnSpPr>
              <a:stCxn id="21" idx="2"/>
              <a:endCxn id="21" idx="0"/>
            </p:cNvCxnSpPr>
            <p:nvPr/>
          </p:nvCxnSpPr>
          <p:spPr bwMode="gray">
            <a:xfrm>
              <a:off x="93018" y="4070270"/>
              <a:ext cx="85863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Gerade Verbindung 83"/>
            <p:cNvCxnSpPr>
              <a:stCxn id="21" idx="4"/>
              <a:endCxn id="21" idx="6"/>
            </p:cNvCxnSpPr>
            <p:nvPr/>
          </p:nvCxnSpPr>
          <p:spPr bwMode="gray">
            <a:xfrm>
              <a:off x="93018" y="4291288"/>
              <a:ext cx="85863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21" name="Left-Right Arrow 121"/>
            <p:cNvSpPr/>
            <p:nvPr/>
          </p:nvSpPr>
          <p:spPr bwMode="gray">
            <a:xfrm>
              <a:off x="93018" y="4070270"/>
              <a:ext cx="858633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PRELIMINARY</a:t>
              </a:r>
            </a:p>
          </p:txBody>
        </p:sp>
      </p:grpSp>
      <p:grpSp>
        <p:nvGrpSpPr>
          <p:cNvPr id="22" name="Gruppieren 67"/>
          <p:cNvGrpSpPr/>
          <p:nvPr/>
        </p:nvGrpSpPr>
        <p:grpSpPr>
          <a:xfrm>
            <a:off x="3635955" y="2477467"/>
            <a:ext cx="730969" cy="221018"/>
            <a:chOff x="93018" y="4070270"/>
            <a:chExt cx="730969" cy="221018"/>
          </a:xfrm>
        </p:grpSpPr>
        <p:cxnSp>
          <p:nvCxnSpPr>
            <p:cNvPr id="23" name="Gerade Verbindung 83"/>
            <p:cNvCxnSpPr>
              <a:stCxn id="25" idx="2"/>
              <a:endCxn id="25" idx="0"/>
            </p:cNvCxnSpPr>
            <p:nvPr/>
          </p:nvCxnSpPr>
          <p:spPr bwMode="gray">
            <a:xfrm>
              <a:off x="93018" y="4070270"/>
              <a:ext cx="73096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Gerade Verbindung 83"/>
            <p:cNvCxnSpPr>
              <a:stCxn id="25" idx="4"/>
              <a:endCxn id="25" idx="6"/>
            </p:cNvCxnSpPr>
            <p:nvPr/>
          </p:nvCxnSpPr>
          <p:spPr bwMode="gray">
            <a:xfrm>
              <a:off x="93018" y="4291288"/>
              <a:ext cx="73096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25" name="Left-Right Arrow 121"/>
            <p:cNvSpPr/>
            <p:nvPr/>
          </p:nvSpPr>
          <p:spPr bwMode="gray">
            <a:xfrm>
              <a:off x="93018" y="4070270"/>
              <a:ext cx="730969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VORLÄUFIG</a:t>
              </a:r>
            </a:p>
          </p:txBody>
        </p:sp>
      </p:grpSp>
      <p:grpSp>
        <p:nvGrpSpPr>
          <p:cNvPr id="26" name="Gruppieren 71"/>
          <p:cNvGrpSpPr/>
          <p:nvPr/>
        </p:nvGrpSpPr>
        <p:grpSpPr>
          <a:xfrm>
            <a:off x="1974199" y="2075764"/>
            <a:ext cx="996876" cy="221018"/>
            <a:chOff x="93018" y="4070270"/>
            <a:chExt cx="996876" cy="221018"/>
          </a:xfrm>
        </p:grpSpPr>
        <p:cxnSp>
          <p:nvCxnSpPr>
            <p:cNvPr id="27" name="Gerade Verbindung 83"/>
            <p:cNvCxnSpPr>
              <a:stCxn id="29" idx="2"/>
              <a:endCxn id="29" idx="0"/>
            </p:cNvCxnSpPr>
            <p:nvPr/>
          </p:nvCxnSpPr>
          <p:spPr bwMode="gray">
            <a:xfrm>
              <a:off x="93018" y="4070270"/>
              <a:ext cx="99687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Gerade Verbindung 83"/>
            <p:cNvCxnSpPr>
              <a:stCxn id="29" idx="4"/>
              <a:endCxn id="29" idx="6"/>
            </p:cNvCxnSpPr>
            <p:nvPr/>
          </p:nvCxnSpPr>
          <p:spPr bwMode="gray">
            <a:xfrm>
              <a:off x="93018" y="4291288"/>
              <a:ext cx="99687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29" name="Left-Right Arrow 121"/>
            <p:cNvSpPr/>
            <p:nvPr/>
          </p:nvSpPr>
          <p:spPr bwMode="gray">
            <a:xfrm>
              <a:off x="93018" y="4070270"/>
              <a:ext cx="996876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AS OF MAY 2012</a:t>
              </a:r>
            </a:p>
          </p:txBody>
        </p:sp>
      </p:grpSp>
      <p:grpSp>
        <p:nvGrpSpPr>
          <p:cNvPr id="30" name="Gruppieren 75"/>
          <p:cNvGrpSpPr/>
          <p:nvPr/>
        </p:nvGrpSpPr>
        <p:grpSpPr>
          <a:xfrm>
            <a:off x="3635950" y="2075764"/>
            <a:ext cx="999056" cy="221018"/>
            <a:chOff x="93018" y="4070270"/>
            <a:chExt cx="999056" cy="221018"/>
          </a:xfrm>
        </p:grpSpPr>
        <p:cxnSp>
          <p:nvCxnSpPr>
            <p:cNvPr id="31" name="Gerade Verbindung 83"/>
            <p:cNvCxnSpPr>
              <a:stCxn id="33" idx="2"/>
              <a:endCxn id="33" idx="0"/>
            </p:cNvCxnSpPr>
            <p:nvPr/>
          </p:nvCxnSpPr>
          <p:spPr bwMode="gray">
            <a:xfrm>
              <a:off x="93018" y="4070270"/>
              <a:ext cx="99905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83"/>
            <p:cNvCxnSpPr>
              <a:stCxn id="33" idx="4"/>
              <a:endCxn id="33" idx="6"/>
            </p:cNvCxnSpPr>
            <p:nvPr/>
          </p:nvCxnSpPr>
          <p:spPr bwMode="gray">
            <a:xfrm>
              <a:off x="93018" y="4291288"/>
              <a:ext cx="99905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33" name="Left-Right Arrow 121"/>
            <p:cNvSpPr/>
            <p:nvPr/>
          </p:nvSpPr>
          <p:spPr bwMode="gray">
            <a:xfrm>
              <a:off x="93018" y="4070270"/>
              <a:ext cx="999056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STAND MAI 2012</a:t>
              </a:r>
            </a:p>
          </p:txBody>
        </p:sp>
      </p:grpSp>
      <p:grpSp>
        <p:nvGrpSpPr>
          <p:cNvPr id="34" name="Gruppieren 79"/>
          <p:cNvGrpSpPr/>
          <p:nvPr/>
        </p:nvGrpSpPr>
        <p:grpSpPr>
          <a:xfrm>
            <a:off x="1974199" y="1674061"/>
            <a:ext cx="1090042" cy="221018"/>
            <a:chOff x="93018" y="4070270"/>
            <a:chExt cx="1090042" cy="221018"/>
          </a:xfrm>
        </p:grpSpPr>
        <p:cxnSp>
          <p:nvCxnSpPr>
            <p:cNvPr id="35" name="Gerade Verbindung 83"/>
            <p:cNvCxnSpPr>
              <a:stCxn id="37" idx="2"/>
              <a:endCxn id="37" idx="0"/>
            </p:cNvCxnSpPr>
            <p:nvPr/>
          </p:nvCxnSpPr>
          <p:spPr bwMode="gray">
            <a:xfrm>
              <a:off x="93018" y="4070270"/>
              <a:ext cx="109004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83"/>
            <p:cNvCxnSpPr>
              <a:stCxn id="37" idx="4"/>
              <a:endCxn id="37" idx="6"/>
            </p:cNvCxnSpPr>
            <p:nvPr/>
          </p:nvCxnSpPr>
          <p:spPr bwMode="gray">
            <a:xfrm>
              <a:off x="93018" y="4291288"/>
              <a:ext cx="109004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37" name="Left-Right Arrow 121"/>
            <p:cNvSpPr/>
            <p:nvPr/>
          </p:nvSpPr>
          <p:spPr bwMode="gray">
            <a:xfrm>
              <a:off x="93018" y="4070270"/>
              <a:ext cx="1090042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FOR DISCUSSION</a:t>
              </a:r>
            </a:p>
          </p:txBody>
        </p:sp>
      </p:grpSp>
      <p:grpSp>
        <p:nvGrpSpPr>
          <p:cNvPr id="38" name="Gruppieren 83"/>
          <p:cNvGrpSpPr/>
          <p:nvPr/>
        </p:nvGrpSpPr>
        <p:grpSpPr>
          <a:xfrm>
            <a:off x="3635950" y="1674061"/>
            <a:ext cx="1077218" cy="221018"/>
            <a:chOff x="93018" y="4070270"/>
            <a:chExt cx="1077218" cy="221018"/>
          </a:xfrm>
        </p:grpSpPr>
        <p:cxnSp>
          <p:nvCxnSpPr>
            <p:cNvPr id="39" name="Gerade Verbindung 83"/>
            <p:cNvCxnSpPr>
              <a:stCxn id="41" idx="2"/>
              <a:endCxn id="41" idx="0"/>
            </p:cNvCxnSpPr>
            <p:nvPr/>
          </p:nvCxnSpPr>
          <p:spPr bwMode="gray">
            <a:xfrm>
              <a:off x="93018" y="4070270"/>
              <a:ext cx="107721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83"/>
            <p:cNvCxnSpPr>
              <a:stCxn id="41" idx="4"/>
              <a:endCxn id="41" idx="6"/>
            </p:cNvCxnSpPr>
            <p:nvPr/>
          </p:nvCxnSpPr>
          <p:spPr bwMode="gray">
            <a:xfrm>
              <a:off x="93018" y="4291288"/>
              <a:ext cx="107721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41" name="Left-Right Arrow 121"/>
            <p:cNvSpPr/>
            <p:nvPr/>
          </p:nvSpPr>
          <p:spPr bwMode="gray">
            <a:xfrm>
              <a:off x="93018" y="4070270"/>
              <a:ext cx="1077218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ZUR DISKUSSION</a:t>
              </a:r>
            </a:p>
          </p:txBody>
        </p:sp>
      </p:grpSp>
      <p:grpSp>
        <p:nvGrpSpPr>
          <p:cNvPr id="42" name="Gruppieren 87"/>
          <p:cNvGrpSpPr/>
          <p:nvPr/>
        </p:nvGrpSpPr>
        <p:grpSpPr>
          <a:xfrm>
            <a:off x="1974199" y="1272358"/>
            <a:ext cx="1124860" cy="221018"/>
            <a:chOff x="93018" y="4070270"/>
            <a:chExt cx="1124860" cy="221018"/>
          </a:xfrm>
        </p:grpSpPr>
        <p:cxnSp>
          <p:nvCxnSpPr>
            <p:cNvPr id="43" name="Gerade Verbindung 83"/>
            <p:cNvCxnSpPr>
              <a:stCxn id="45" idx="2"/>
              <a:endCxn id="45" idx="0"/>
            </p:cNvCxnSpPr>
            <p:nvPr/>
          </p:nvCxnSpPr>
          <p:spPr bwMode="gray">
            <a:xfrm>
              <a:off x="93018" y="4070270"/>
              <a:ext cx="112486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Gerade Verbindung 83"/>
            <p:cNvCxnSpPr>
              <a:stCxn id="45" idx="4"/>
              <a:endCxn id="45" idx="6"/>
            </p:cNvCxnSpPr>
            <p:nvPr/>
          </p:nvCxnSpPr>
          <p:spPr bwMode="gray">
            <a:xfrm>
              <a:off x="93018" y="4291288"/>
              <a:ext cx="112486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45" name="Left-Right Arrow 121"/>
            <p:cNvSpPr/>
            <p:nvPr/>
          </p:nvSpPr>
          <p:spPr bwMode="gray">
            <a:xfrm>
              <a:off x="93018" y="4070270"/>
              <a:ext cx="1124860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IN CONSULTATION</a:t>
              </a:r>
            </a:p>
          </p:txBody>
        </p:sp>
      </p:grpSp>
      <p:grpSp>
        <p:nvGrpSpPr>
          <p:cNvPr id="46" name="Gruppieren 91"/>
          <p:cNvGrpSpPr/>
          <p:nvPr/>
        </p:nvGrpSpPr>
        <p:grpSpPr>
          <a:xfrm>
            <a:off x="3635950" y="1272358"/>
            <a:ext cx="1014188" cy="221018"/>
            <a:chOff x="93018" y="4070270"/>
            <a:chExt cx="1014188" cy="221018"/>
          </a:xfrm>
        </p:grpSpPr>
        <p:cxnSp>
          <p:nvCxnSpPr>
            <p:cNvPr id="47" name="Gerade Verbindung 83"/>
            <p:cNvCxnSpPr>
              <a:stCxn id="49" idx="2"/>
              <a:endCxn id="49" idx="0"/>
            </p:cNvCxnSpPr>
            <p:nvPr/>
          </p:nvCxnSpPr>
          <p:spPr bwMode="gray">
            <a:xfrm>
              <a:off x="93018" y="4070270"/>
              <a:ext cx="101418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Gerade Verbindung 83"/>
            <p:cNvCxnSpPr>
              <a:stCxn id="49" idx="4"/>
              <a:endCxn id="49" idx="6"/>
            </p:cNvCxnSpPr>
            <p:nvPr/>
          </p:nvCxnSpPr>
          <p:spPr bwMode="gray">
            <a:xfrm>
              <a:off x="93018" y="4291288"/>
              <a:ext cx="101418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49" name="Left-Right Arrow 121"/>
            <p:cNvSpPr/>
            <p:nvPr/>
          </p:nvSpPr>
          <p:spPr bwMode="gray">
            <a:xfrm>
              <a:off x="93018" y="4070270"/>
              <a:ext cx="1014188" cy="221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0" tIns="18000" rIns="0" bIns="18000" rtlCol="0" anchor="t" anchorCtr="0">
              <a:spAutoFit/>
            </a:bodyPr>
            <a:lstStyle/>
            <a:p>
              <a:r>
                <a:rPr lang="de-DE" sz="1200" cap="all" dirty="0">
                  <a:solidFill>
                    <a:schemeClr val="accent2">
                      <a:lumMod val="75000"/>
                    </a:schemeClr>
                  </a:solidFill>
                </a:rPr>
                <a:t>IN ABSTIMMUNG</a:t>
              </a:r>
            </a:p>
          </p:txBody>
        </p:sp>
      </p:grpSp>
      <p:sp>
        <p:nvSpPr>
          <p:cNvPr id="50" name="Inhaltsplatzhalter 15"/>
          <p:cNvSpPr txBox="1"/>
          <p:nvPr/>
        </p:nvSpPr>
        <p:spPr bwMode="gray">
          <a:xfrm>
            <a:off x="5448005" y="1200358"/>
            <a:ext cx="3975103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174622" indent="-174622">
              <a:spcBef>
                <a:spcPts val="3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200" b="1" dirty="0" err="1">
                <a:solidFill>
                  <a:srgbClr val="000000"/>
                </a:solidFill>
              </a:rPr>
              <a:t>Numbering</a:t>
            </a:r>
            <a:r>
              <a:rPr lang="de-DE" sz="1200" b="1" dirty="0">
                <a:solidFill>
                  <a:srgbClr val="000000"/>
                </a:solidFill>
              </a:rPr>
              <a:t> </a:t>
            </a:r>
            <a:r>
              <a:rPr lang="de-DE" sz="1200" b="1" dirty="0" err="1">
                <a:solidFill>
                  <a:srgbClr val="000000"/>
                </a:solidFill>
              </a:rPr>
              <a:t>and</a:t>
            </a:r>
            <a:r>
              <a:rPr lang="de-DE" sz="1200" b="1" dirty="0">
                <a:solidFill>
                  <a:srgbClr val="000000"/>
                </a:solidFill>
              </a:rPr>
              <a:t> positive/negative </a:t>
            </a:r>
            <a:r>
              <a:rPr lang="de-DE" sz="1200" b="1" dirty="0" err="1">
                <a:solidFill>
                  <a:srgbClr val="000000"/>
                </a:solidFill>
              </a:rPr>
              <a:t>and</a:t>
            </a:r>
            <a:r>
              <a:rPr lang="de-DE" sz="1200" b="1" dirty="0">
                <a:solidFill>
                  <a:srgbClr val="000000"/>
                </a:solidFill>
              </a:rPr>
              <a:t> </a:t>
            </a:r>
            <a:r>
              <a:rPr lang="de-DE" sz="1200" b="1" dirty="0" err="1">
                <a:solidFill>
                  <a:srgbClr val="000000"/>
                </a:solidFill>
              </a:rPr>
              <a:t>accentuation</a:t>
            </a:r>
            <a:endParaRPr lang="de-DE" sz="1200" b="1" dirty="0">
              <a:solidFill>
                <a:srgbClr val="000000"/>
              </a:solidFill>
            </a:endParaRPr>
          </a:p>
        </p:txBody>
      </p:sp>
      <p:sp>
        <p:nvSpPr>
          <p:cNvPr id="51" name="Textfeld 7"/>
          <p:cNvSpPr txBox="1"/>
          <p:nvPr/>
        </p:nvSpPr>
        <p:spPr bwMode="gray">
          <a:xfrm>
            <a:off x="5448005" y="1488363"/>
            <a:ext cx="287999" cy="287999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/>
          <a:p>
            <a:pPr algn="ctr" defTabSz="89268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2" name="Textfeld 7"/>
          <p:cNvSpPr txBox="1"/>
          <p:nvPr/>
        </p:nvSpPr>
        <p:spPr bwMode="gray">
          <a:xfrm>
            <a:off x="5808005" y="1488363"/>
            <a:ext cx="287999" cy="287999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53" name="Textfeld 7"/>
          <p:cNvSpPr txBox="1"/>
          <p:nvPr/>
        </p:nvSpPr>
        <p:spPr bwMode="gray">
          <a:xfrm>
            <a:off x="6168005" y="1488363"/>
            <a:ext cx="287999" cy="287999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54" name="Textfeld 7"/>
          <p:cNvSpPr txBox="1"/>
          <p:nvPr/>
        </p:nvSpPr>
        <p:spPr bwMode="gray">
          <a:xfrm>
            <a:off x="6528005" y="1488363"/>
            <a:ext cx="287999" cy="287999"/>
          </a:xfrm>
          <a:prstGeom prst="ellipse">
            <a:avLst/>
          </a:prstGeom>
          <a:solidFill>
            <a:schemeClr val="tx2"/>
          </a:solidFill>
          <a:ln w="28575"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anchor="ctr" anchorCtr="1" compatLnSpc="1"/>
          <a:lstStyle>
            <a:defPPr>
              <a:defRPr lang="de-DE"/>
            </a:defPPr>
            <a:lvl1pPr marR="0" lvl="0" indent="0" algn="ctr" defTabSz="89268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1" i="0" u="none" strike="noStrike" cap="none" spc="0" baseline="0">
                <a:solidFill>
                  <a:srgbClr val="FFFFFF"/>
                </a:solidFill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4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5448000" y="1848358"/>
            <a:ext cx="292100" cy="292100"/>
            <a:chOff x="4753407" y="2219009"/>
            <a:chExt cx="292100" cy="292100"/>
          </a:xfrm>
        </p:grpSpPr>
        <p:sp>
          <p:nvSpPr>
            <p:cNvPr id="56" name="Oval 41"/>
            <p:cNvSpPr>
              <a:spLocks noChangeArrowheads="1"/>
            </p:cNvSpPr>
            <p:nvPr/>
          </p:nvSpPr>
          <p:spPr bwMode="gray">
            <a:xfrm>
              <a:off x="4753407" y="2219009"/>
              <a:ext cx="292100" cy="292100"/>
            </a:xfrm>
            <a:prstGeom prst="ellipse">
              <a:avLst/>
            </a:prstGeom>
            <a:solidFill>
              <a:schemeClr val="tx2"/>
            </a:solidFill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de-DE" sz="1400" b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7" name="AutoShape 2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827457" y="2293059"/>
              <a:ext cx="144000" cy="144000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58" name="Gruppieren 29"/>
          <p:cNvGrpSpPr/>
          <p:nvPr/>
        </p:nvGrpSpPr>
        <p:grpSpPr>
          <a:xfrm>
            <a:off x="5808000" y="1848358"/>
            <a:ext cx="292100" cy="292100"/>
            <a:chOff x="5119713" y="2219009"/>
            <a:chExt cx="292100" cy="2921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9" name="Oval 41"/>
            <p:cNvSpPr>
              <a:spLocks noChangeArrowheads="1"/>
            </p:cNvSpPr>
            <p:nvPr/>
          </p:nvSpPr>
          <p:spPr bwMode="gray">
            <a:xfrm>
              <a:off x="5119713" y="2219009"/>
              <a:ext cx="292100" cy="292100"/>
            </a:xfrm>
            <a:prstGeom prst="ellipse">
              <a:avLst/>
            </a:prstGeom>
            <a:solidFill>
              <a:schemeClr val="tx2"/>
            </a:solidFill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de-DE" sz="1400" b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60" name="AutoShap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5193763" y="2347059"/>
              <a:ext cx="144000" cy="36000"/>
            </a:xfrm>
            <a:custGeom>
              <a:avLst/>
              <a:gdLst>
                <a:gd name="connsiteX0" fmla="*/ 0 w 192088"/>
                <a:gd name="connsiteY0" fmla="*/ 71633 h 198437"/>
                <a:gd name="connsiteX1" fmla="*/ 71633 w 192088"/>
                <a:gd name="connsiteY1" fmla="*/ 71633 h 198437"/>
                <a:gd name="connsiteX2" fmla="*/ 71633 w 192088"/>
                <a:gd name="connsiteY2" fmla="*/ 0 h 198437"/>
                <a:gd name="connsiteX3" fmla="*/ 120455 w 192088"/>
                <a:gd name="connsiteY3" fmla="*/ 0 h 198437"/>
                <a:gd name="connsiteX4" fmla="*/ 120455 w 192088"/>
                <a:gd name="connsiteY4" fmla="*/ 71633 h 198437"/>
                <a:gd name="connsiteX5" fmla="*/ 192088 w 192088"/>
                <a:gd name="connsiteY5" fmla="*/ 71633 h 198437"/>
                <a:gd name="connsiteX6" fmla="*/ 192088 w 192088"/>
                <a:gd name="connsiteY6" fmla="*/ 126804 h 198437"/>
                <a:gd name="connsiteX7" fmla="*/ 120455 w 192088"/>
                <a:gd name="connsiteY7" fmla="*/ 126804 h 198437"/>
                <a:gd name="connsiteX8" fmla="*/ 120455 w 192088"/>
                <a:gd name="connsiteY8" fmla="*/ 198437 h 198437"/>
                <a:gd name="connsiteX9" fmla="*/ 71633 w 192088"/>
                <a:gd name="connsiteY9" fmla="*/ 198437 h 198437"/>
                <a:gd name="connsiteX10" fmla="*/ 71633 w 192088"/>
                <a:gd name="connsiteY10" fmla="*/ 126804 h 198437"/>
                <a:gd name="connsiteX11" fmla="*/ 0 w 192088"/>
                <a:gd name="connsiteY11" fmla="*/ 126804 h 198437"/>
                <a:gd name="connsiteX12" fmla="*/ 0 w 192088"/>
                <a:gd name="connsiteY12" fmla="*/ 71633 h 198437"/>
                <a:gd name="connsiteX0" fmla="*/ 0 w 192088"/>
                <a:gd name="connsiteY0" fmla="*/ 71633 h 198437"/>
                <a:gd name="connsiteX1" fmla="*/ 71633 w 192088"/>
                <a:gd name="connsiteY1" fmla="*/ 71633 h 198437"/>
                <a:gd name="connsiteX2" fmla="*/ 120455 w 192088"/>
                <a:gd name="connsiteY2" fmla="*/ 0 h 198437"/>
                <a:gd name="connsiteX3" fmla="*/ 120455 w 192088"/>
                <a:gd name="connsiteY3" fmla="*/ 71633 h 198437"/>
                <a:gd name="connsiteX4" fmla="*/ 192088 w 192088"/>
                <a:gd name="connsiteY4" fmla="*/ 71633 h 198437"/>
                <a:gd name="connsiteX5" fmla="*/ 192088 w 192088"/>
                <a:gd name="connsiteY5" fmla="*/ 126804 h 198437"/>
                <a:gd name="connsiteX6" fmla="*/ 120455 w 192088"/>
                <a:gd name="connsiteY6" fmla="*/ 126804 h 198437"/>
                <a:gd name="connsiteX7" fmla="*/ 120455 w 192088"/>
                <a:gd name="connsiteY7" fmla="*/ 198437 h 198437"/>
                <a:gd name="connsiteX8" fmla="*/ 71633 w 192088"/>
                <a:gd name="connsiteY8" fmla="*/ 198437 h 198437"/>
                <a:gd name="connsiteX9" fmla="*/ 71633 w 192088"/>
                <a:gd name="connsiteY9" fmla="*/ 126804 h 198437"/>
                <a:gd name="connsiteX10" fmla="*/ 0 w 192088"/>
                <a:gd name="connsiteY10" fmla="*/ 126804 h 198437"/>
                <a:gd name="connsiteX11" fmla="*/ 0 w 192088"/>
                <a:gd name="connsiteY11" fmla="*/ 71633 h 198437"/>
                <a:gd name="connsiteX0" fmla="*/ 0 w 192088"/>
                <a:gd name="connsiteY0" fmla="*/ 0 h 126804"/>
                <a:gd name="connsiteX1" fmla="*/ 71633 w 192088"/>
                <a:gd name="connsiteY1" fmla="*/ 0 h 126804"/>
                <a:gd name="connsiteX2" fmla="*/ 120455 w 192088"/>
                <a:gd name="connsiteY2" fmla="*/ 0 h 126804"/>
                <a:gd name="connsiteX3" fmla="*/ 192088 w 192088"/>
                <a:gd name="connsiteY3" fmla="*/ 0 h 126804"/>
                <a:gd name="connsiteX4" fmla="*/ 192088 w 192088"/>
                <a:gd name="connsiteY4" fmla="*/ 55171 h 126804"/>
                <a:gd name="connsiteX5" fmla="*/ 120455 w 192088"/>
                <a:gd name="connsiteY5" fmla="*/ 55171 h 126804"/>
                <a:gd name="connsiteX6" fmla="*/ 120455 w 192088"/>
                <a:gd name="connsiteY6" fmla="*/ 126804 h 126804"/>
                <a:gd name="connsiteX7" fmla="*/ 71633 w 192088"/>
                <a:gd name="connsiteY7" fmla="*/ 126804 h 126804"/>
                <a:gd name="connsiteX8" fmla="*/ 71633 w 192088"/>
                <a:gd name="connsiteY8" fmla="*/ 55171 h 126804"/>
                <a:gd name="connsiteX9" fmla="*/ 0 w 192088"/>
                <a:gd name="connsiteY9" fmla="*/ 55171 h 126804"/>
                <a:gd name="connsiteX10" fmla="*/ 0 w 192088"/>
                <a:gd name="connsiteY10" fmla="*/ 0 h 126804"/>
                <a:gd name="connsiteX0" fmla="*/ 0 w 192088"/>
                <a:gd name="connsiteY0" fmla="*/ 0 h 126804"/>
                <a:gd name="connsiteX1" fmla="*/ 71633 w 192088"/>
                <a:gd name="connsiteY1" fmla="*/ 0 h 126804"/>
                <a:gd name="connsiteX2" fmla="*/ 192088 w 192088"/>
                <a:gd name="connsiteY2" fmla="*/ 0 h 126804"/>
                <a:gd name="connsiteX3" fmla="*/ 192088 w 192088"/>
                <a:gd name="connsiteY3" fmla="*/ 55171 h 126804"/>
                <a:gd name="connsiteX4" fmla="*/ 120455 w 192088"/>
                <a:gd name="connsiteY4" fmla="*/ 55171 h 126804"/>
                <a:gd name="connsiteX5" fmla="*/ 120455 w 192088"/>
                <a:gd name="connsiteY5" fmla="*/ 126804 h 126804"/>
                <a:gd name="connsiteX6" fmla="*/ 71633 w 192088"/>
                <a:gd name="connsiteY6" fmla="*/ 126804 h 126804"/>
                <a:gd name="connsiteX7" fmla="*/ 71633 w 192088"/>
                <a:gd name="connsiteY7" fmla="*/ 55171 h 126804"/>
                <a:gd name="connsiteX8" fmla="*/ 0 w 192088"/>
                <a:gd name="connsiteY8" fmla="*/ 55171 h 126804"/>
                <a:gd name="connsiteX9" fmla="*/ 0 w 192088"/>
                <a:gd name="connsiteY9" fmla="*/ 0 h 126804"/>
                <a:gd name="connsiteX0" fmla="*/ 0 w 192088"/>
                <a:gd name="connsiteY0" fmla="*/ 0 h 126804"/>
                <a:gd name="connsiteX1" fmla="*/ 192088 w 192088"/>
                <a:gd name="connsiteY1" fmla="*/ 0 h 126804"/>
                <a:gd name="connsiteX2" fmla="*/ 192088 w 192088"/>
                <a:gd name="connsiteY2" fmla="*/ 55171 h 126804"/>
                <a:gd name="connsiteX3" fmla="*/ 120455 w 192088"/>
                <a:gd name="connsiteY3" fmla="*/ 55171 h 126804"/>
                <a:gd name="connsiteX4" fmla="*/ 120455 w 192088"/>
                <a:gd name="connsiteY4" fmla="*/ 126804 h 126804"/>
                <a:gd name="connsiteX5" fmla="*/ 71633 w 192088"/>
                <a:gd name="connsiteY5" fmla="*/ 126804 h 126804"/>
                <a:gd name="connsiteX6" fmla="*/ 71633 w 192088"/>
                <a:gd name="connsiteY6" fmla="*/ 55171 h 126804"/>
                <a:gd name="connsiteX7" fmla="*/ 0 w 192088"/>
                <a:gd name="connsiteY7" fmla="*/ 55171 h 126804"/>
                <a:gd name="connsiteX8" fmla="*/ 0 w 192088"/>
                <a:gd name="connsiteY8" fmla="*/ 0 h 126804"/>
                <a:gd name="connsiteX0" fmla="*/ 0 w 192088"/>
                <a:gd name="connsiteY0" fmla="*/ 0 h 126804"/>
                <a:gd name="connsiteX1" fmla="*/ 192088 w 192088"/>
                <a:gd name="connsiteY1" fmla="*/ 0 h 126804"/>
                <a:gd name="connsiteX2" fmla="*/ 192088 w 192088"/>
                <a:gd name="connsiteY2" fmla="*/ 55171 h 126804"/>
                <a:gd name="connsiteX3" fmla="*/ 120455 w 192088"/>
                <a:gd name="connsiteY3" fmla="*/ 55171 h 126804"/>
                <a:gd name="connsiteX4" fmla="*/ 120455 w 192088"/>
                <a:gd name="connsiteY4" fmla="*/ 126804 h 126804"/>
                <a:gd name="connsiteX5" fmla="*/ 71633 w 192088"/>
                <a:gd name="connsiteY5" fmla="*/ 126804 h 126804"/>
                <a:gd name="connsiteX6" fmla="*/ 0 w 192088"/>
                <a:gd name="connsiteY6" fmla="*/ 55171 h 126804"/>
                <a:gd name="connsiteX7" fmla="*/ 0 w 192088"/>
                <a:gd name="connsiteY7" fmla="*/ 0 h 126804"/>
                <a:gd name="connsiteX0" fmla="*/ 0 w 192088"/>
                <a:gd name="connsiteY0" fmla="*/ 0 h 126804"/>
                <a:gd name="connsiteX1" fmla="*/ 192088 w 192088"/>
                <a:gd name="connsiteY1" fmla="*/ 0 h 126804"/>
                <a:gd name="connsiteX2" fmla="*/ 192088 w 192088"/>
                <a:gd name="connsiteY2" fmla="*/ 55171 h 126804"/>
                <a:gd name="connsiteX3" fmla="*/ 120455 w 192088"/>
                <a:gd name="connsiteY3" fmla="*/ 126804 h 126804"/>
                <a:gd name="connsiteX4" fmla="*/ 71633 w 192088"/>
                <a:gd name="connsiteY4" fmla="*/ 126804 h 126804"/>
                <a:gd name="connsiteX5" fmla="*/ 0 w 192088"/>
                <a:gd name="connsiteY5" fmla="*/ 55171 h 126804"/>
                <a:gd name="connsiteX6" fmla="*/ 0 w 192088"/>
                <a:gd name="connsiteY6" fmla="*/ 0 h 126804"/>
                <a:gd name="connsiteX0" fmla="*/ 0 w 192088"/>
                <a:gd name="connsiteY0" fmla="*/ 0 h 126804"/>
                <a:gd name="connsiteX1" fmla="*/ 192088 w 192088"/>
                <a:gd name="connsiteY1" fmla="*/ 0 h 126804"/>
                <a:gd name="connsiteX2" fmla="*/ 192088 w 192088"/>
                <a:gd name="connsiteY2" fmla="*/ 55171 h 126804"/>
                <a:gd name="connsiteX3" fmla="*/ 71633 w 192088"/>
                <a:gd name="connsiteY3" fmla="*/ 126804 h 126804"/>
                <a:gd name="connsiteX4" fmla="*/ 0 w 192088"/>
                <a:gd name="connsiteY4" fmla="*/ 55171 h 126804"/>
                <a:gd name="connsiteX5" fmla="*/ 0 w 192088"/>
                <a:gd name="connsiteY5" fmla="*/ 0 h 126804"/>
                <a:gd name="connsiteX0" fmla="*/ 0 w 192088"/>
                <a:gd name="connsiteY0" fmla="*/ 0 h 55171"/>
                <a:gd name="connsiteX1" fmla="*/ 192088 w 192088"/>
                <a:gd name="connsiteY1" fmla="*/ 0 h 55171"/>
                <a:gd name="connsiteX2" fmla="*/ 192088 w 192088"/>
                <a:gd name="connsiteY2" fmla="*/ 55171 h 55171"/>
                <a:gd name="connsiteX3" fmla="*/ 0 w 192088"/>
                <a:gd name="connsiteY3" fmla="*/ 55171 h 55171"/>
                <a:gd name="connsiteX4" fmla="*/ 0 w 192088"/>
                <a:gd name="connsiteY4" fmla="*/ 0 h 5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088" h="55171">
                  <a:moveTo>
                    <a:pt x="0" y="0"/>
                  </a:moveTo>
                  <a:lnTo>
                    <a:pt x="192088" y="0"/>
                  </a:lnTo>
                  <a:lnTo>
                    <a:pt x="192088" y="55171"/>
                  </a:lnTo>
                  <a:lnTo>
                    <a:pt x="0" y="55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61" name="Gruppieren 19"/>
          <p:cNvGrpSpPr/>
          <p:nvPr/>
        </p:nvGrpSpPr>
        <p:grpSpPr>
          <a:xfrm>
            <a:off x="6528000" y="2208358"/>
            <a:ext cx="292100" cy="292100"/>
            <a:chOff x="5926213" y="2583152"/>
            <a:chExt cx="292100" cy="2921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62" name="Oval 22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5926213" y="2583152"/>
              <a:ext cx="292100" cy="292100"/>
            </a:xfrm>
            <a:prstGeom prst="ellipse">
              <a:avLst/>
            </a:prstGeom>
            <a:grpFill/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en-GB" sz="1400" b="1">
                <a:solidFill>
                  <a:srgbClr val="FFFFFF"/>
                </a:solidFill>
                <a:latin typeface="Arial"/>
                <a:cs typeface="Arial"/>
                <a:sym typeface="Verdana"/>
              </a:endParaRPr>
            </a:p>
          </p:txBody>
        </p:sp>
        <p:sp>
          <p:nvSpPr>
            <p:cNvPr id="63" name="Freeform 229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6003281" y="2661205"/>
              <a:ext cx="137964" cy="135994"/>
            </a:xfrm>
            <a:custGeom>
              <a:avLst/>
              <a:gdLst>
                <a:gd name="T0" fmla="*/ 0 w 717"/>
                <a:gd name="T1" fmla="*/ 0 h 700"/>
                <a:gd name="T2" fmla="*/ 0 w 717"/>
                <a:gd name="T3" fmla="*/ 0 h 700"/>
                <a:gd name="T4" fmla="*/ 0 w 717"/>
                <a:gd name="T5" fmla="*/ 0 h 700"/>
                <a:gd name="T6" fmla="*/ 0 w 717"/>
                <a:gd name="T7" fmla="*/ 0 h 700"/>
                <a:gd name="T8" fmla="*/ 0 w 717"/>
                <a:gd name="T9" fmla="*/ 0 h 700"/>
                <a:gd name="T10" fmla="*/ 0 w 717"/>
                <a:gd name="T11" fmla="*/ 0 h 700"/>
                <a:gd name="T12" fmla="*/ 0 w 717"/>
                <a:gd name="T13" fmla="*/ 0 h 700"/>
                <a:gd name="T14" fmla="*/ 0 w 717"/>
                <a:gd name="T15" fmla="*/ 0 h 700"/>
                <a:gd name="T16" fmla="*/ 0 w 717"/>
                <a:gd name="T17" fmla="*/ 0 h 700"/>
                <a:gd name="T18" fmla="*/ 0 w 717"/>
                <a:gd name="T19" fmla="*/ 0 h 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7"/>
                <a:gd name="T31" fmla="*/ 0 h 700"/>
                <a:gd name="T32" fmla="*/ 717 w 717"/>
                <a:gd name="T33" fmla="*/ 700 h 7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7" h="700">
                  <a:moveTo>
                    <a:pt x="717" y="124"/>
                  </a:moveTo>
                  <a:lnTo>
                    <a:pt x="717" y="700"/>
                  </a:lnTo>
                  <a:lnTo>
                    <a:pt x="140" y="700"/>
                  </a:lnTo>
                  <a:lnTo>
                    <a:pt x="140" y="528"/>
                  </a:lnTo>
                  <a:lnTo>
                    <a:pt x="408" y="528"/>
                  </a:lnTo>
                  <a:lnTo>
                    <a:pt x="0" y="120"/>
                  </a:lnTo>
                  <a:lnTo>
                    <a:pt x="120" y="0"/>
                  </a:lnTo>
                  <a:lnTo>
                    <a:pt x="528" y="408"/>
                  </a:lnTo>
                  <a:lnTo>
                    <a:pt x="528" y="124"/>
                  </a:lnTo>
                  <a:lnTo>
                    <a:pt x="717" y="12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hangingPunct="0"/>
              <a:endParaRPr lang="en-GB">
                <a:latin typeface="Verdana"/>
                <a:cs typeface="Verdana"/>
                <a:sym typeface="Verdana"/>
              </a:endParaRPr>
            </a:p>
          </p:txBody>
        </p:sp>
      </p:grpSp>
      <p:grpSp>
        <p:nvGrpSpPr>
          <p:cNvPr id="64" name="Gruppieren 20"/>
          <p:cNvGrpSpPr/>
          <p:nvPr/>
        </p:nvGrpSpPr>
        <p:grpSpPr>
          <a:xfrm>
            <a:off x="6168000" y="2208358"/>
            <a:ext cx="292100" cy="292100"/>
            <a:chOff x="5522964" y="2583152"/>
            <a:chExt cx="292100" cy="2921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65" name="Oval 228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flipV="1">
              <a:off x="5522964" y="2583152"/>
              <a:ext cx="292100" cy="292100"/>
            </a:xfrm>
            <a:prstGeom prst="ellipse">
              <a:avLst/>
            </a:prstGeom>
            <a:grpFill/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en-GB" sz="1400" b="1">
                <a:solidFill>
                  <a:srgbClr val="FFFFFF"/>
                </a:solidFill>
                <a:latin typeface="Arial"/>
                <a:cs typeface="Arial"/>
                <a:sym typeface="Verdana"/>
              </a:endParaRPr>
            </a:p>
          </p:txBody>
        </p:sp>
        <p:sp>
          <p:nvSpPr>
            <p:cNvPr id="66" name="Freeform 229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 flipV="1">
              <a:off x="5599539" y="2661205"/>
              <a:ext cx="138950" cy="135994"/>
            </a:xfrm>
            <a:custGeom>
              <a:avLst/>
              <a:gdLst>
                <a:gd name="T0" fmla="*/ 0 w 717"/>
                <a:gd name="T1" fmla="*/ 0 h 700"/>
                <a:gd name="T2" fmla="*/ 0 w 717"/>
                <a:gd name="T3" fmla="*/ 0 h 700"/>
                <a:gd name="T4" fmla="*/ 0 w 717"/>
                <a:gd name="T5" fmla="*/ 0 h 700"/>
                <a:gd name="T6" fmla="*/ 0 w 717"/>
                <a:gd name="T7" fmla="*/ 0 h 700"/>
                <a:gd name="T8" fmla="*/ 0 w 717"/>
                <a:gd name="T9" fmla="*/ 0 h 700"/>
                <a:gd name="T10" fmla="*/ 0 w 717"/>
                <a:gd name="T11" fmla="*/ 0 h 700"/>
                <a:gd name="T12" fmla="*/ 0 w 717"/>
                <a:gd name="T13" fmla="*/ 0 h 700"/>
                <a:gd name="T14" fmla="*/ 0 w 717"/>
                <a:gd name="T15" fmla="*/ 0 h 700"/>
                <a:gd name="T16" fmla="*/ 0 w 717"/>
                <a:gd name="T17" fmla="*/ 0 h 700"/>
                <a:gd name="T18" fmla="*/ 0 w 717"/>
                <a:gd name="T19" fmla="*/ 0 h 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7"/>
                <a:gd name="T31" fmla="*/ 0 h 700"/>
                <a:gd name="T32" fmla="*/ 717 w 717"/>
                <a:gd name="T33" fmla="*/ 700 h 7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7" h="700">
                  <a:moveTo>
                    <a:pt x="717" y="124"/>
                  </a:moveTo>
                  <a:lnTo>
                    <a:pt x="717" y="700"/>
                  </a:lnTo>
                  <a:lnTo>
                    <a:pt x="140" y="700"/>
                  </a:lnTo>
                  <a:lnTo>
                    <a:pt x="140" y="528"/>
                  </a:lnTo>
                  <a:lnTo>
                    <a:pt x="408" y="528"/>
                  </a:lnTo>
                  <a:lnTo>
                    <a:pt x="0" y="120"/>
                  </a:lnTo>
                  <a:lnTo>
                    <a:pt x="120" y="0"/>
                  </a:lnTo>
                  <a:lnTo>
                    <a:pt x="528" y="408"/>
                  </a:lnTo>
                  <a:lnTo>
                    <a:pt x="528" y="124"/>
                  </a:lnTo>
                  <a:lnTo>
                    <a:pt x="717" y="12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hangingPunct="0"/>
              <a:endParaRPr lang="en-GB">
                <a:latin typeface="Verdana"/>
                <a:cs typeface="Verdana"/>
                <a:sym typeface="Verdana"/>
              </a:endParaRPr>
            </a:p>
          </p:txBody>
        </p:sp>
      </p:grpSp>
      <p:grpSp>
        <p:nvGrpSpPr>
          <p:cNvPr id="67" name="Gruppieren 22"/>
          <p:cNvGrpSpPr/>
          <p:nvPr/>
        </p:nvGrpSpPr>
        <p:grpSpPr>
          <a:xfrm>
            <a:off x="5448000" y="2208358"/>
            <a:ext cx="292100" cy="292100"/>
            <a:chOff x="4716467" y="2583152"/>
            <a:chExt cx="292100" cy="2921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68" name="Oval 55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716467" y="2583152"/>
              <a:ext cx="292100" cy="292100"/>
            </a:xfrm>
            <a:prstGeom prst="ellipse">
              <a:avLst/>
            </a:prstGeom>
            <a:grpFill/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en-GB" sz="1400" b="1">
                <a:solidFill>
                  <a:srgbClr val="FFFFFF"/>
                </a:solidFill>
                <a:latin typeface="Arial"/>
                <a:cs typeface="Arial"/>
                <a:sym typeface="Verdana"/>
              </a:endParaRPr>
            </a:p>
          </p:txBody>
        </p:sp>
        <p:sp>
          <p:nvSpPr>
            <p:cNvPr id="69" name="Freeform 551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 rot="18900000">
              <a:off x="4799372" y="2666837"/>
              <a:ext cx="126290" cy="124730"/>
            </a:xfrm>
            <a:custGeom>
              <a:avLst/>
              <a:gdLst>
                <a:gd name="T0" fmla="*/ 0 w 717"/>
                <a:gd name="T1" fmla="*/ 0 h 700"/>
                <a:gd name="T2" fmla="*/ 0 w 717"/>
                <a:gd name="T3" fmla="*/ 0 h 700"/>
                <a:gd name="T4" fmla="*/ 0 w 717"/>
                <a:gd name="T5" fmla="*/ 0 h 700"/>
                <a:gd name="T6" fmla="*/ 0 w 717"/>
                <a:gd name="T7" fmla="*/ 0 h 700"/>
                <a:gd name="T8" fmla="*/ 0 w 717"/>
                <a:gd name="T9" fmla="*/ 0 h 700"/>
                <a:gd name="T10" fmla="*/ 0 w 717"/>
                <a:gd name="T11" fmla="*/ 0 h 700"/>
                <a:gd name="T12" fmla="*/ 0 w 717"/>
                <a:gd name="T13" fmla="*/ 0 h 700"/>
                <a:gd name="T14" fmla="*/ 0 w 717"/>
                <a:gd name="T15" fmla="*/ 0 h 700"/>
                <a:gd name="T16" fmla="*/ 0 w 717"/>
                <a:gd name="T17" fmla="*/ 0 h 700"/>
                <a:gd name="T18" fmla="*/ 0 w 717"/>
                <a:gd name="T19" fmla="*/ 0 h 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7"/>
                <a:gd name="T31" fmla="*/ 0 h 700"/>
                <a:gd name="T32" fmla="*/ 717 w 717"/>
                <a:gd name="T33" fmla="*/ 700 h 7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7" h="700">
                  <a:moveTo>
                    <a:pt x="717" y="124"/>
                  </a:moveTo>
                  <a:lnTo>
                    <a:pt x="717" y="700"/>
                  </a:lnTo>
                  <a:lnTo>
                    <a:pt x="140" y="700"/>
                  </a:lnTo>
                  <a:lnTo>
                    <a:pt x="140" y="528"/>
                  </a:lnTo>
                  <a:lnTo>
                    <a:pt x="408" y="528"/>
                  </a:lnTo>
                  <a:lnTo>
                    <a:pt x="0" y="120"/>
                  </a:lnTo>
                  <a:lnTo>
                    <a:pt x="120" y="0"/>
                  </a:lnTo>
                  <a:lnTo>
                    <a:pt x="528" y="408"/>
                  </a:lnTo>
                  <a:lnTo>
                    <a:pt x="528" y="124"/>
                  </a:lnTo>
                  <a:lnTo>
                    <a:pt x="717" y="12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hangingPunct="0"/>
              <a:endParaRPr lang="en-GB">
                <a:latin typeface="Verdana"/>
                <a:cs typeface="Verdana"/>
                <a:sym typeface="Verdana"/>
              </a:endParaRPr>
            </a:p>
          </p:txBody>
        </p:sp>
      </p:grpSp>
      <p:grpSp>
        <p:nvGrpSpPr>
          <p:cNvPr id="70" name="Gruppieren 21"/>
          <p:cNvGrpSpPr/>
          <p:nvPr/>
        </p:nvGrpSpPr>
        <p:grpSpPr>
          <a:xfrm>
            <a:off x="5808000" y="2208358"/>
            <a:ext cx="292100" cy="292100"/>
            <a:chOff x="5119713" y="2583152"/>
            <a:chExt cx="292100" cy="2921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71" name="Oval 55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 flipH="1">
              <a:off x="5119713" y="2583152"/>
              <a:ext cx="292100" cy="292100"/>
            </a:xfrm>
            <a:prstGeom prst="ellipse">
              <a:avLst/>
            </a:prstGeom>
            <a:grpFill/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en-GB" sz="1400" b="1">
                <a:solidFill>
                  <a:srgbClr val="FFFFFF"/>
                </a:solidFill>
                <a:latin typeface="Arial"/>
                <a:cs typeface="Arial"/>
                <a:sym typeface="Verdana"/>
              </a:endParaRPr>
            </a:p>
          </p:txBody>
        </p:sp>
        <p:sp>
          <p:nvSpPr>
            <p:cNvPr id="72" name="Freeform 55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 rot="2700000" flipH="1">
              <a:off x="5202948" y="2666836"/>
              <a:ext cx="125630" cy="124732"/>
            </a:xfrm>
            <a:custGeom>
              <a:avLst/>
              <a:gdLst>
                <a:gd name="T0" fmla="*/ 0 w 717"/>
                <a:gd name="T1" fmla="*/ 0 h 700"/>
                <a:gd name="T2" fmla="*/ 0 w 717"/>
                <a:gd name="T3" fmla="*/ 0 h 700"/>
                <a:gd name="T4" fmla="*/ 0 w 717"/>
                <a:gd name="T5" fmla="*/ 0 h 700"/>
                <a:gd name="T6" fmla="*/ 0 w 717"/>
                <a:gd name="T7" fmla="*/ 0 h 700"/>
                <a:gd name="T8" fmla="*/ 0 w 717"/>
                <a:gd name="T9" fmla="*/ 0 h 700"/>
                <a:gd name="T10" fmla="*/ 0 w 717"/>
                <a:gd name="T11" fmla="*/ 0 h 700"/>
                <a:gd name="T12" fmla="*/ 0 w 717"/>
                <a:gd name="T13" fmla="*/ 0 h 700"/>
                <a:gd name="T14" fmla="*/ 0 w 717"/>
                <a:gd name="T15" fmla="*/ 0 h 700"/>
                <a:gd name="T16" fmla="*/ 0 w 717"/>
                <a:gd name="T17" fmla="*/ 0 h 700"/>
                <a:gd name="T18" fmla="*/ 0 w 717"/>
                <a:gd name="T19" fmla="*/ 0 h 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7"/>
                <a:gd name="T31" fmla="*/ 0 h 700"/>
                <a:gd name="T32" fmla="*/ 717 w 717"/>
                <a:gd name="T33" fmla="*/ 700 h 7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7" h="700">
                  <a:moveTo>
                    <a:pt x="717" y="124"/>
                  </a:moveTo>
                  <a:lnTo>
                    <a:pt x="717" y="700"/>
                  </a:lnTo>
                  <a:lnTo>
                    <a:pt x="140" y="700"/>
                  </a:lnTo>
                  <a:lnTo>
                    <a:pt x="140" y="528"/>
                  </a:lnTo>
                  <a:lnTo>
                    <a:pt x="408" y="528"/>
                  </a:lnTo>
                  <a:lnTo>
                    <a:pt x="0" y="120"/>
                  </a:lnTo>
                  <a:lnTo>
                    <a:pt x="120" y="0"/>
                  </a:lnTo>
                  <a:lnTo>
                    <a:pt x="528" y="408"/>
                  </a:lnTo>
                  <a:lnTo>
                    <a:pt x="528" y="124"/>
                  </a:lnTo>
                  <a:lnTo>
                    <a:pt x="717" y="12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hangingPunct="0"/>
              <a:endParaRPr lang="en-GB">
                <a:latin typeface="Verdana"/>
                <a:cs typeface="Verdana"/>
                <a:sym typeface="Verdana"/>
              </a:endParaRPr>
            </a:p>
          </p:txBody>
        </p:sp>
      </p:grpSp>
      <p:pic>
        <p:nvPicPr>
          <p:cNvPr id="80" name="Picture 4" descr="bank icon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000" y="3576358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connected, home, house, local, network icon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000" y="3648358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8" descr="building, business icon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000" y="3648358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" descr="C:\Users\AWindisch\Desktop\eCommerce-Icons\safe_256x256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000" y="3864363"/>
            <a:ext cx="558950" cy="562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6" descr="C:\AWindisch\Privat\SuperVista\Accounting\company_256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005" y="3792363"/>
            <a:ext cx="617513" cy="617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4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005" y="3792363"/>
            <a:ext cx="321681" cy="49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" name="Picture 8"/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84000" y="4620363"/>
            <a:ext cx="817200" cy="668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7" name="Picture 2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00" y="4692363"/>
            <a:ext cx="817200" cy="677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" name="Picture 127"/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0000" y="4692358"/>
            <a:ext cx="817200" cy="61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" name="Grafik 6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2000" y="4476358"/>
            <a:ext cx="817200" cy="817200"/>
          </a:xfrm>
          <a:prstGeom prst="rect">
            <a:avLst/>
          </a:prstGeom>
        </p:spPr>
      </p:pic>
      <p:pic>
        <p:nvPicPr>
          <p:cNvPr id="90" name="Grafik 7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8000" y="4620358"/>
            <a:ext cx="817200" cy="715050"/>
          </a:xfrm>
          <a:prstGeom prst="rect">
            <a:avLst/>
          </a:prstGeom>
        </p:spPr>
      </p:pic>
      <p:pic>
        <p:nvPicPr>
          <p:cNvPr id="91" name="Grafik 2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000" y="4692358"/>
            <a:ext cx="680642" cy="680642"/>
          </a:xfrm>
          <a:prstGeom prst="rect">
            <a:avLst/>
          </a:prstGeom>
        </p:spPr>
      </p:pic>
      <p:pic>
        <p:nvPicPr>
          <p:cNvPr id="92" name="Picture 3" descr="C:\Users\AWindisch\Desktop\eCommerce-Icons\company_256x256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792363"/>
            <a:ext cx="683162" cy="68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" descr="C:\Users\AWindisch\Desktop\eCommerce-Icons\shopping_256x256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00" y="3720363"/>
            <a:ext cx="683162" cy="68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Rectangle 13"/>
          <p:cNvSpPr>
            <a:spLocks noChangeAspect="1"/>
          </p:cNvSpPr>
          <p:nvPr/>
        </p:nvSpPr>
        <p:spPr bwMode="auto">
          <a:xfrm>
            <a:off x="7104000" y="1848358"/>
            <a:ext cx="288000" cy="288000"/>
          </a:xfrm>
          <a:prstGeom prst="ellipse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81877" tIns="81877" rIns="81877" bIns="81877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r>
              <a:rPr lang="de-DE" sz="1400" b="1" kern="0" dirty="0">
                <a:solidFill>
                  <a:srgbClr val="FFFFFF"/>
                </a:solidFill>
                <a:cs typeface="Arial" pitchFamily="34" charset="0"/>
              </a:rPr>
              <a:t>!</a:t>
            </a:r>
          </a:p>
        </p:txBody>
      </p:sp>
      <p:pic>
        <p:nvPicPr>
          <p:cNvPr id="96" name="Grafik 8"/>
          <p:cNvPicPr>
            <a:picLocks noChangeAspect="1"/>
          </p:cNvPicPr>
          <p:nvPr/>
        </p:nvPicPr>
        <p:blipFill>
          <a:blip r:embed="rId3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000" y="4620358"/>
            <a:ext cx="720000" cy="720000"/>
          </a:xfrm>
          <a:prstGeom prst="rect">
            <a:avLst/>
          </a:prstGeom>
          <a:ln>
            <a:noFill/>
          </a:ln>
        </p:spPr>
      </p:pic>
      <p:pic>
        <p:nvPicPr>
          <p:cNvPr id="97" name="Grafik 4" descr="untitled.b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000" y="4620358"/>
            <a:ext cx="864000" cy="697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" descr="http://sr.photos2.fotosearch.com/bthumb/CSP/CSP653/k6535258.jpg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48000" y="4620358"/>
            <a:ext cx="719000" cy="71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Rectangle 13"/>
          <p:cNvSpPr>
            <a:spLocks noChangeAspect="1"/>
          </p:cNvSpPr>
          <p:nvPr/>
        </p:nvSpPr>
        <p:spPr bwMode="auto">
          <a:xfrm>
            <a:off x="7464000" y="1848358"/>
            <a:ext cx="288000" cy="288000"/>
          </a:xfrm>
          <a:prstGeom prst="ellipse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81877" tIns="81877" rIns="81877" bIns="81877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r>
              <a:rPr lang="de-DE" sz="1400" b="1" kern="0" dirty="0">
                <a:solidFill>
                  <a:srgbClr val="FFFFFF"/>
                </a:solidFill>
                <a:cs typeface="Arial" pitchFamily="34" charset="0"/>
              </a:rPr>
              <a:t>?</a:t>
            </a:r>
          </a:p>
        </p:txBody>
      </p:sp>
      <p:sp>
        <p:nvSpPr>
          <p:cNvPr id="104" name="Rectangle 13"/>
          <p:cNvSpPr>
            <a:spLocks noChangeAspect="1"/>
          </p:cNvSpPr>
          <p:nvPr/>
        </p:nvSpPr>
        <p:spPr bwMode="auto">
          <a:xfrm>
            <a:off x="7464000" y="1488358"/>
            <a:ext cx="288000" cy="288000"/>
          </a:xfrm>
          <a:prstGeom prst="ellipse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81877" tIns="81877" rIns="81877" bIns="81877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r>
              <a:rPr lang="de-DE" b="1" kern="0" dirty="0">
                <a:solidFill>
                  <a:srgbClr val="FFFFFF"/>
                </a:solidFill>
                <a:cs typeface="Arial" pitchFamily="34" charset="0"/>
                <a:sym typeface="Wingdings" panose="05000000000000000000" pitchFamily="2" charset="2"/>
              </a:rPr>
              <a:t></a:t>
            </a:r>
            <a:endParaRPr lang="de-DE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105" name="Gruppieren 23"/>
          <p:cNvGrpSpPr/>
          <p:nvPr/>
        </p:nvGrpSpPr>
        <p:grpSpPr>
          <a:xfrm>
            <a:off x="7824000" y="1488358"/>
            <a:ext cx="288000" cy="288000"/>
            <a:chOff x="6467475" y="1840910"/>
            <a:chExt cx="288000" cy="288000"/>
          </a:xfrm>
        </p:grpSpPr>
        <p:sp>
          <p:nvSpPr>
            <p:cNvPr id="106" name="Rectangle 158"/>
            <p:cNvSpPr/>
            <p:nvPr>
              <p:custDataLst>
                <p:tags r:id="rId5"/>
              </p:custDataLst>
            </p:nvPr>
          </p:nvSpPr>
          <p:spPr bwMode="gray">
            <a:xfrm>
              <a:off x="6467475" y="1840910"/>
              <a:ext cx="288000" cy="288000"/>
            </a:xfrm>
            <a:prstGeom prst="ellipse">
              <a:avLst/>
            </a:prstGeom>
            <a:solidFill>
              <a:srgbClr val="00A028"/>
            </a:solidFill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en-GB" sz="1400" b="1">
                <a:solidFill>
                  <a:srgbClr val="FFFFFF"/>
                </a:solidFill>
                <a:latin typeface="Arial"/>
                <a:cs typeface="Arial"/>
                <a:sym typeface="Verdana"/>
              </a:endParaRPr>
            </a:p>
          </p:txBody>
        </p:sp>
        <p:sp>
          <p:nvSpPr>
            <p:cNvPr id="107" name="Freeform 38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6542828" y="1919739"/>
              <a:ext cx="137294" cy="130342"/>
            </a:xfrm>
            <a:custGeom>
              <a:avLst/>
              <a:gdLst>
                <a:gd name="T0" fmla="*/ 2147483647 w 672"/>
                <a:gd name="T1" fmla="*/ 0 h 681"/>
                <a:gd name="T2" fmla="*/ 2147483647 w 672"/>
                <a:gd name="T3" fmla="*/ 2147483647 h 681"/>
                <a:gd name="T4" fmla="*/ 2147483647 w 672"/>
                <a:gd name="T5" fmla="*/ 2147483647 h 681"/>
                <a:gd name="T6" fmla="*/ 2147483647 w 672"/>
                <a:gd name="T7" fmla="*/ 2147483647 h 681"/>
                <a:gd name="T8" fmla="*/ 2147483647 w 672"/>
                <a:gd name="T9" fmla="*/ 2147483647 h 681"/>
                <a:gd name="T10" fmla="*/ 2147483647 w 672"/>
                <a:gd name="T11" fmla="*/ 2147483647 h 681"/>
                <a:gd name="T12" fmla="*/ 2147483647 w 672"/>
                <a:gd name="T13" fmla="*/ 2147483647 h 681"/>
                <a:gd name="T14" fmla="*/ 2147483647 w 672"/>
                <a:gd name="T15" fmla="*/ 2147483647 h 681"/>
                <a:gd name="T16" fmla="*/ 2147483647 w 672"/>
                <a:gd name="T17" fmla="*/ 2147483647 h 681"/>
                <a:gd name="T18" fmla="*/ 2147483647 w 672"/>
                <a:gd name="T19" fmla="*/ 2147483647 h 681"/>
                <a:gd name="T20" fmla="*/ 2147483647 w 672"/>
                <a:gd name="T21" fmla="*/ 2147483647 h 681"/>
                <a:gd name="T22" fmla="*/ 2147483647 w 672"/>
                <a:gd name="T23" fmla="*/ 2147483647 h 681"/>
                <a:gd name="T24" fmla="*/ 2147483647 w 672"/>
                <a:gd name="T25" fmla="*/ 2147483647 h 681"/>
                <a:gd name="T26" fmla="*/ 2147483647 w 672"/>
                <a:gd name="T27" fmla="*/ 2147483647 h 681"/>
                <a:gd name="T28" fmla="*/ 2147483647 w 672"/>
                <a:gd name="T29" fmla="*/ 2147483647 h 681"/>
                <a:gd name="T30" fmla="*/ 2147483647 w 672"/>
                <a:gd name="T31" fmla="*/ 2147483647 h 681"/>
                <a:gd name="T32" fmla="*/ 2147483647 w 672"/>
                <a:gd name="T33" fmla="*/ 2147483647 h 681"/>
                <a:gd name="T34" fmla="*/ 0 w 672"/>
                <a:gd name="T35" fmla="*/ 2147483647 h 681"/>
                <a:gd name="T36" fmla="*/ 0 w 672"/>
                <a:gd name="T37" fmla="*/ 2147483647 h 681"/>
                <a:gd name="T38" fmla="*/ 2147483647 w 672"/>
                <a:gd name="T39" fmla="*/ 2147483647 h 681"/>
                <a:gd name="T40" fmla="*/ 2147483647 w 672"/>
                <a:gd name="T41" fmla="*/ 2147483647 h 681"/>
                <a:gd name="T42" fmla="*/ 2147483647 w 672"/>
                <a:gd name="T43" fmla="*/ 2147483647 h 681"/>
                <a:gd name="T44" fmla="*/ 2147483647 w 672"/>
                <a:gd name="T45" fmla="*/ 2147483647 h 681"/>
                <a:gd name="T46" fmla="*/ 2147483647 w 672"/>
                <a:gd name="T47" fmla="*/ 2147483647 h 681"/>
                <a:gd name="T48" fmla="*/ 2147483647 w 672"/>
                <a:gd name="T49" fmla="*/ 2147483647 h 681"/>
                <a:gd name="T50" fmla="*/ 2147483647 w 672"/>
                <a:gd name="T51" fmla="*/ 2147483647 h 681"/>
                <a:gd name="T52" fmla="*/ 2147483647 w 672"/>
                <a:gd name="T53" fmla="*/ 2147483647 h 681"/>
                <a:gd name="T54" fmla="*/ 2147483647 w 672"/>
                <a:gd name="T55" fmla="*/ 2147483647 h 681"/>
                <a:gd name="T56" fmla="*/ 2147483647 w 672"/>
                <a:gd name="T57" fmla="*/ 2147483647 h 681"/>
                <a:gd name="T58" fmla="*/ 2147483647 w 672"/>
                <a:gd name="T59" fmla="*/ 2147483647 h 681"/>
                <a:gd name="T60" fmla="*/ 2147483647 w 672"/>
                <a:gd name="T61" fmla="*/ 2147483647 h 681"/>
                <a:gd name="T62" fmla="*/ 2147483647 w 672"/>
                <a:gd name="T63" fmla="*/ 2147483647 h 681"/>
                <a:gd name="T64" fmla="*/ 2147483647 w 672"/>
                <a:gd name="T65" fmla="*/ 2147483647 h 681"/>
                <a:gd name="T66" fmla="*/ 2147483647 w 672"/>
                <a:gd name="T67" fmla="*/ 2147483647 h 681"/>
                <a:gd name="T68" fmla="*/ 2147483647 w 672"/>
                <a:gd name="T69" fmla="*/ 0 h 6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72"/>
                <a:gd name="T106" fmla="*/ 0 h 681"/>
                <a:gd name="T107" fmla="*/ 672 w 672"/>
                <a:gd name="T108" fmla="*/ 681 h 6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72" h="681">
                  <a:moveTo>
                    <a:pt x="661" y="0"/>
                  </a:moveTo>
                  <a:lnTo>
                    <a:pt x="616" y="2"/>
                  </a:lnTo>
                  <a:lnTo>
                    <a:pt x="541" y="14"/>
                  </a:lnTo>
                  <a:lnTo>
                    <a:pt x="531" y="17"/>
                  </a:lnTo>
                  <a:lnTo>
                    <a:pt x="522" y="24"/>
                  </a:lnTo>
                  <a:lnTo>
                    <a:pt x="489" y="53"/>
                  </a:lnTo>
                  <a:lnTo>
                    <a:pt x="439" y="114"/>
                  </a:lnTo>
                  <a:lnTo>
                    <a:pt x="358" y="234"/>
                  </a:lnTo>
                  <a:lnTo>
                    <a:pt x="282" y="359"/>
                  </a:lnTo>
                  <a:lnTo>
                    <a:pt x="208" y="512"/>
                  </a:lnTo>
                  <a:lnTo>
                    <a:pt x="178" y="468"/>
                  </a:lnTo>
                  <a:lnTo>
                    <a:pt x="156" y="443"/>
                  </a:lnTo>
                  <a:lnTo>
                    <a:pt x="129" y="425"/>
                  </a:lnTo>
                  <a:lnTo>
                    <a:pt x="102" y="410"/>
                  </a:lnTo>
                  <a:lnTo>
                    <a:pt x="66" y="411"/>
                  </a:lnTo>
                  <a:lnTo>
                    <a:pt x="39" y="420"/>
                  </a:lnTo>
                  <a:lnTo>
                    <a:pt x="13" y="438"/>
                  </a:lnTo>
                  <a:lnTo>
                    <a:pt x="0" y="456"/>
                  </a:lnTo>
                  <a:lnTo>
                    <a:pt x="0" y="489"/>
                  </a:lnTo>
                  <a:lnTo>
                    <a:pt x="13" y="510"/>
                  </a:lnTo>
                  <a:lnTo>
                    <a:pt x="57" y="560"/>
                  </a:lnTo>
                  <a:lnTo>
                    <a:pt x="105" y="624"/>
                  </a:lnTo>
                  <a:lnTo>
                    <a:pt x="139" y="675"/>
                  </a:lnTo>
                  <a:lnTo>
                    <a:pt x="154" y="678"/>
                  </a:lnTo>
                  <a:lnTo>
                    <a:pt x="232" y="681"/>
                  </a:lnTo>
                  <a:lnTo>
                    <a:pt x="267" y="671"/>
                  </a:lnTo>
                  <a:lnTo>
                    <a:pt x="310" y="570"/>
                  </a:lnTo>
                  <a:lnTo>
                    <a:pt x="366" y="449"/>
                  </a:lnTo>
                  <a:lnTo>
                    <a:pt x="400" y="384"/>
                  </a:lnTo>
                  <a:lnTo>
                    <a:pt x="471" y="270"/>
                  </a:lnTo>
                  <a:lnTo>
                    <a:pt x="550" y="158"/>
                  </a:lnTo>
                  <a:lnTo>
                    <a:pt x="624" y="74"/>
                  </a:lnTo>
                  <a:lnTo>
                    <a:pt x="666" y="36"/>
                  </a:lnTo>
                  <a:lnTo>
                    <a:pt x="672" y="12"/>
                  </a:lnTo>
                  <a:lnTo>
                    <a:pt x="66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hangingPunct="0">
                <a:defRPr/>
              </a:pPr>
              <a:endParaRPr lang="en-GB">
                <a:latin typeface="Verdana"/>
                <a:cs typeface="Verdana"/>
                <a:sym typeface="Verdana"/>
              </a:endParaRPr>
            </a:p>
          </p:txBody>
        </p:sp>
      </p:grpSp>
      <p:sp>
        <p:nvSpPr>
          <p:cNvPr id="109" name="Rectangle 13"/>
          <p:cNvSpPr>
            <a:spLocks noChangeAspect="1"/>
          </p:cNvSpPr>
          <p:nvPr/>
        </p:nvSpPr>
        <p:spPr bwMode="auto">
          <a:xfrm>
            <a:off x="8184000" y="1488358"/>
            <a:ext cx="288000" cy="288000"/>
          </a:xfrm>
          <a:prstGeom prst="ellipse">
            <a:avLst/>
          </a:prstGeom>
          <a:solidFill>
            <a:srgbClr val="C0000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81877" tIns="81877" rIns="81877" bIns="81877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r>
              <a:rPr lang="de-DE" b="1" kern="0" dirty="0">
                <a:solidFill>
                  <a:srgbClr val="FFFFFF"/>
                </a:solidFill>
                <a:cs typeface="Arial" pitchFamily="34" charset="0"/>
                <a:sym typeface="Wingdings" panose="05000000000000000000" pitchFamily="2" charset="2"/>
              </a:rPr>
              <a:t></a:t>
            </a:r>
            <a:endParaRPr lang="de-DE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114" name="Gruppieren 23"/>
          <p:cNvGrpSpPr/>
          <p:nvPr/>
        </p:nvGrpSpPr>
        <p:grpSpPr>
          <a:xfrm>
            <a:off x="7104000" y="1488358"/>
            <a:ext cx="288000" cy="288000"/>
            <a:chOff x="6467475" y="1840910"/>
            <a:chExt cx="288000" cy="288000"/>
          </a:xfrm>
        </p:grpSpPr>
        <p:sp>
          <p:nvSpPr>
            <p:cNvPr id="115" name="Rectangle 158"/>
            <p:cNvSpPr/>
            <p:nvPr>
              <p:custDataLst>
                <p:tags r:id="rId3"/>
              </p:custDataLst>
            </p:nvPr>
          </p:nvSpPr>
          <p:spPr bwMode="gray">
            <a:xfrm>
              <a:off x="6467475" y="1840910"/>
              <a:ext cx="288000" cy="288000"/>
            </a:xfrm>
            <a:prstGeom prst="ellipse">
              <a:avLst/>
            </a:prstGeom>
            <a:solidFill>
              <a:schemeClr val="tx2"/>
            </a:solidFill>
            <a:ln w="28575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anchor="ctr" anchorCtr="1" compatLnSpc="1"/>
            <a:lstStyle/>
            <a:p>
              <a:pPr algn="ctr" defTabSz="892683"/>
              <a:endParaRPr lang="en-GB" sz="1400" b="1">
                <a:solidFill>
                  <a:srgbClr val="FFFFFF"/>
                </a:solidFill>
                <a:latin typeface="Arial"/>
                <a:cs typeface="Arial"/>
                <a:sym typeface="Verdana"/>
              </a:endParaRPr>
            </a:p>
          </p:txBody>
        </p:sp>
        <p:sp>
          <p:nvSpPr>
            <p:cNvPr id="116" name="Freeform 38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6542828" y="1919739"/>
              <a:ext cx="137294" cy="130342"/>
            </a:xfrm>
            <a:custGeom>
              <a:avLst/>
              <a:gdLst>
                <a:gd name="T0" fmla="*/ 2147483647 w 672"/>
                <a:gd name="T1" fmla="*/ 0 h 681"/>
                <a:gd name="T2" fmla="*/ 2147483647 w 672"/>
                <a:gd name="T3" fmla="*/ 2147483647 h 681"/>
                <a:gd name="T4" fmla="*/ 2147483647 w 672"/>
                <a:gd name="T5" fmla="*/ 2147483647 h 681"/>
                <a:gd name="T6" fmla="*/ 2147483647 w 672"/>
                <a:gd name="T7" fmla="*/ 2147483647 h 681"/>
                <a:gd name="T8" fmla="*/ 2147483647 w 672"/>
                <a:gd name="T9" fmla="*/ 2147483647 h 681"/>
                <a:gd name="T10" fmla="*/ 2147483647 w 672"/>
                <a:gd name="T11" fmla="*/ 2147483647 h 681"/>
                <a:gd name="T12" fmla="*/ 2147483647 w 672"/>
                <a:gd name="T13" fmla="*/ 2147483647 h 681"/>
                <a:gd name="T14" fmla="*/ 2147483647 w 672"/>
                <a:gd name="T15" fmla="*/ 2147483647 h 681"/>
                <a:gd name="T16" fmla="*/ 2147483647 w 672"/>
                <a:gd name="T17" fmla="*/ 2147483647 h 681"/>
                <a:gd name="T18" fmla="*/ 2147483647 w 672"/>
                <a:gd name="T19" fmla="*/ 2147483647 h 681"/>
                <a:gd name="T20" fmla="*/ 2147483647 w 672"/>
                <a:gd name="T21" fmla="*/ 2147483647 h 681"/>
                <a:gd name="T22" fmla="*/ 2147483647 w 672"/>
                <a:gd name="T23" fmla="*/ 2147483647 h 681"/>
                <a:gd name="T24" fmla="*/ 2147483647 w 672"/>
                <a:gd name="T25" fmla="*/ 2147483647 h 681"/>
                <a:gd name="T26" fmla="*/ 2147483647 w 672"/>
                <a:gd name="T27" fmla="*/ 2147483647 h 681"/>
                <a:gd name="T28" fmla="*/ 2147483647 w 672"/>
                <a:gd name="T29" fmla="*/ 2147483647 h 681"/>
                <a:gd name="T30" fmla="*/ 2147483647 w 672"/>
                <a:gd name="T31" fmla="*/ 2147483647 h 681"/>
                <a:gd name="T32" fmla="*/ 2147483647 w 672"/>
                <a:gd name="T33" fmla="*/ 2147483647 h 681"/>
                <a:gd name="T34" fmla="*/ 0 w 672"/>
                <a:gd name="T35" fmla="*/ 2147483647 h 681"/>
                <a:gd name="T36" fmla="*/ 0 w 672"/>
                <a:gd name="T37" fmla="*/ 2147483647 h 681"/>
                <a:gd name="T38" fmla="*/ 2147483647 w 672"/>
                <a:gd name="T39" fmla="*/ 2147483647 h 681"/>
                <a:gd name="T40" fmla="*/ 2147483647 w 672"/>
                <a:gd name="T41" fmla="*/ 2147483647 h 681"/>
                <a:gd name="T42" fmla="*/ 2147483647 w 672"/>
                <a:gd name="T43" fmla="*/ 2147483647 h 681"/>
                <a:gd name="T44" fmla="*/ 2147483647 w 672"/>
                <a:gd name="T45" fmla="*/ 2147483647 h 681"/>
                <a:gd name="T46" fmla="*/ 2147483647 w 672"/>
                <a:gd name="T47" fmla="*/ 2147483647 h 681"/>
                <a:gd name="T48" fmla="*/ 2147483647 w 672"/>
                <a:gd name="T49" fmla="*/ 2147483647 h 681"/>
                <a:gd name="T50" fmla="*/ 2147483647 w 672"/>
                <a:gd name="T51" fmla="*/ 2147483647 h 681"/>
                <a:gd name="T52" fmla="*/ 2147483647 w 672"/>
                <a:gd name="T53" fmla="*/ 2147483647 h 681"/>
                <a:gd name="T54" fmla="*/ 2147483647 w 672"/>
                <a:gd name="T55" fmla="*/ 2147483647 h 681"/>
                <a:gd name="T56" fmla="*/ 2147483647 w 672"/>
                <a:gd name="T57" fmla="*/ 2147483647 h 681"/>
                <a:gd name="T58" fmla="*/ 2147483647 w 672"/>
                <a:gd name="T59" fmla="*/ 2147483647 h 681"/>
                <a:gd name="T60" fmla="*/ 2147483647 w 672"/>
                <a:gd name="T61" fmla="*/ 2147483647 h 681"/>
                <a:gd name="T62" fmla="*/ 2147483647 w 672"/>
                <a:gd name="T63" fmla="*/ 2147483647 h 681"/>
                <a:gd name="T64" fmla="*/ 2147483647 w 672"/>
                <a:gd name="T65" fmla="*/ 2147483647 h 681"/>
                <a:gd name="T66" fmla="*/ 2147483647 w 672"/>
                <a:gd name="T67" fmla="*/ 2147483647 h 681"/>
                <a:gd name="T68" fmla="*/ 2147483647 w 672"/>
                <a:gd name="T69" fmla="*/ 0 h 6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72"/>
                <a:gd name="T106" fmla="*/ 0 h 681"/>
                <a:gd name="T107" fmla="*/ 672 w 672"/>
                <a:gd name="T108" fmla="*/ 681 h 6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72" h="681">
                  <a:moveTo>
                    <a:pt x="661" y="0"/>
                  </a:moveTo>
                  <a:lnTo>
                    <a:pt x="616" y="2"/>
                  </a:lnTo>
                  <a:lnTo>
                    <a:pt x="541" y="14"/>
                  </a:lnTo>
                  <a:lnTo>
                    <a:pt x="531" y="17"/>
                  </a:lnTo>
                  <a:lnTo>
                    <a:pt x="522" y="24"/>
                  </a:lnTo>
                  <a:lnTo>
                    <a:pt x="489" y="53"/>
                  </a:lnTo>
                  <a:lnTo>
                    <a:pt x="439" y="114"/>
                  </a:lnTo>
                  <a:lnTo>
                    <a:pt x="358" y="234"/>
                  </a:lnTo>
                  <a:lnTo>
                    <a:pt x="282" y="359"/>
                  </a:lnTo>
                  <a:lnTo>
                    <a:pt x="208" y="512"/>
                  </a:lnTo>
                  <a:lnTo>
                    <a:pt x="178" y="468"/>
                  </a:lnTo>
                  <a:lnTo>
                    <a:pt x="156" y="443"/>
                  </a:lnTo>
                  <a:lnTo>
                    <a:pt x="129" y="425"/>
                  </a:lnTo>
                  <a:lnTo>
                    <a:pt x="102" y="410"/>
                  </a:lnTo>
                  <a:lnTo>
                    <a:pt x="66" y="411"/>
                  </a:lnTo>
                  <a:lnTo>
                    <a:pt x="39" y="420"/>
                  </a:lnTo>
                  <a:lnTo>
                    <a:pt x="13" y="438"/>
                  </a:lnTo>
                  <a:lnTo>
                    <a:pt x="0" y="456"/>
                  </a:lnTo>
                  <a:lnTo>
                    <a:pt x="0" y="489"/>
                  </a:lnTo>
                  <a:lnTo>
                    <a:pt x="13" y="510"/>
                  </a:lnTo>
                  <a:lnTo>
                    <a:pt x="57" y="560"/>
                  </a:lnTo>
                  <a:lnTo>
                    <a:pt x="105" y="624"/>
                  </a:lnTo>
                  <a:lnTo>
                    <a:pt x="139" y="675"/>
                  </a:lnTo>
                  <a:lnTo>
                    <a:pt x="154" y="678"/>
                  </a:lnTo>
                  <a:lnTo>
                    <a:pt x="232" y="681"/>
                  </a:lnTo>
                  <a:lnTo>
                    <a:pt x="267" y="671"/>
                  </a:lnTo>
                  <a:lnTo>
                    <a:pt x="310" y="570"/>
                  </a:lnTo>
                  <a:lnTo>
                    <a:pt x="366" y="449"/>
                  </a:lnTo>
                  <a:lnTo>
                    <a:pt x="400" y="384"/>
                  </a:lnTo>
                  <a:lnTo>
                    <a:pt x="471" y="270"/>
                  </a:lnTo>
                  <a:lnTo>
                    <a:pt x="550" y="158"/>
                  </a:lnTo>
                  <a:lnTo>
                    <a:pt x="624" y="74"/>
                  </a:lnTo>
                  <a:lnTo>
                    <a:pt x="666" y="36"/>
                  </a:lnTo>
                  <a:lnTo>
                    <a:pt x="672" y="12"/>
                  </a:lnTo>
                  <a:lnTo>
                    <a:pt x="66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hangingPunct="0">
                <a:defRPr/>
              </a:pPr>
              <a:endParaRPr lang="en-GB">
                <a:latin typeface="Verdana"/>
                <a:cs typeface="Verdana"/>
                <a:sym typeface="Verdana"/>
              </a:endParaRPr>
            </a:p>
          </p:txBody>
        </p:sp>
      </p:grpSp>
      <p:sp>
        <p:nvSpPr>
          <p:cNvPr id="101" name="Rechteck 95"/>
          <p:cNvSpPr/>
          <p:nvPr/>
        </p:nvSpPr>
        <p:spPr bwMode="gray">
          <a:xfrm>
            <a:off x="8841802" y="981005"/>
            <a:ext cx="1588077" cy="22101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Sticker Area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tangle 13"/>
          <p:cNvSpPr>
            <a:spLocks noChangeAspect="1"/>
          </p:cNvSpPr>
          <p:nvPr/>
        </p:nvSpPr>
        <p:spPr bwMode="auto">
          <a:xfrm>
            <a:off x="8544000" y="2208358"/>
            <a:ext cx="288000" cy="288000"/>
          </a:xfrm>
          <a:prstGeom prst="ellipse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81877" tIns="81877" rIns="81877" bIns="81877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endParaRPr lang="de-DE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7464000" y="2568358"/>
            <a:ext cx="288000" cy="288000"/>
            <a:chOff x="5580000" y="2421000"/>
            <a:chExt cx="288000" cy="288000"/>
          </a:xfrm>
        </p:grpSpPr>
        <p:sp>
          <p:nvSpPr>
            <p:cNvPr id="111" name="Rectangle 13"/>
            <p:cNvSpPr>
              <a:spLocks noChangeAspect="1"/>
            </p:cNvSpPr>
            <p:nvPr/>
          </p:nvSpPr>
          <p:spPr bwMode="auto">
            <a:xfrm>
              <a:off x="5580000" y="2421000"/>
              <a:ext cx="288000" cy="288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12" name="Rectangle 13"/>
            <p:cNvSpPr>
              <a:spLocks noChangeAspect="1"/>
            </p:cNvSpPr>
            <p:nvPr/>
          </p:nvSpPr>
          <p:spPr bwMode="auto">
            <a:xfrm>
              <a:off x="5580000" y="2421000"/>
              <a:ext cx="288000" cy="288000"/>
            </a:xfrm>
            <a:prstGeom prst="pie">
              <a:avLst>
                <a:gd name="adj1" fmla="val 16170048"/>
                <a:gd name="adj2" fmla="val 21588699"/>
              </a:avLst>
            </a:prstGeom>
            <a:solidFill>
              <a:schemeClr val="tx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7824000" y="2568358"/>
            <a:ext cx="288000" cy="288000"/>
            <a:chOff x="5580000" y="2421000"/>
            <a:chExt cx="288000" cy="288000"/>
          </a:xfrm>
        </p:grpSpPr>
        <p:sp>
          <p:nvSpPr>
            <p:cNvPr id="117" name="Rectangle 13"/>
            <p:cNvSpPr>
              <a:spLocks noChangeAspect="1"/>
            </p:cNvSpPr>
            <p:nvPr/>
          </p:nvSpPr>
          <p:spPr bwMode="auto">
            <a:xfrm>
              <a:off x="5580000" y="2421000"/>
              <a:ext cx="288000" cy="288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18" name="Rectangle 13"/>
            <p:cNvSpPr>
              <a:spLocks noChangeAspect="1"/>
            </p:cNvSpPr>
            <p:nvPr/>
          </p:nvSpPr>
          <p:spPr bwMode="auto">
            <a:xfrm>
              <a:off x="5580000" y="2421000"/>
              <a:ext cx="288000" cy="288000"/>
            </a:xfrm>
            <a:prstGeom prst="pie">
              <a:avLst>
                <a:gd name="adj1" fmla="val 16170048"/>
                <a:gd name="adj2" fmla="val 5427171"/>
              </a:avLst>
            </a:prstGeom>
            <a:solidFill>
              <a:schemeClr val="tx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8184000" y="2568358"/>
            <a:ext cx="288000" cy="288000"/>
            <a:chOff x="5580000" y="2421000"/>
            <a:chExt cx="288000" cy="288000"/>
          </a:xfrm>
        </p:grpSpPr>
        <p:sp>
          <p:nvSpPr>
            <p:cNvPr id="120" name="Rectangle 13"/>
            <p:cNvSpPr>
              <a:spLocks noChangeAspect="1"/>
            </p:cNvSpPr>
            <p:nvPr/>
          </p:nvSpPr>
          <p:spPr bwMode="auto">
            <a:xfrm>
              <a:off x="5580000" y="2421000"/>
              <a:ext cx="288000" cy="288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21" name="Rectangle 13"/>
            <p:cNvSpPr>
              <a:spLocks noChangeAspect="1"/>
            </p:cNvSpPr>
            <p:nvPr/>
          </p:nvSpPr>
          <p:spPr bwMode="auto">
            <a:xfrm>
              <a:off x="5580000" y="2421000"/>
              <a:ext cx="288000" cy="288000"/>
            </a:xfrm>
            <a:prstGeom prst="pie">
              <a:avLst>
                <a:gd name="adj1" fmla="val 16170048"/>
                <a:gd name="adj2" fmla="val 10811998"/>
              </a:avLst>
            </a:prstGeom>
            <a:solidFill>
              <a:schemeClr val="tx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123" name="Rectangle 13"/>
          <p:cNvSpPr>
            <a:spLocks noChangeAspect="1"/>
          </p:cNvSpPr>
          <p:nvPr/>
        </p:nvSpPr>
        <p:spPr bwMode="auto">
          <a:xfrm>
            <a:off x="8544000" y="2568358"/>
            <a:ext cx="288000" cy="288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endParaRPr lang="de-DE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8" name="Rectangle 13"/>
          <p:cNvSpPr>
            <a:spLocks noChangeAspect="1"/>
          </p:cNvSpPr>
          <p:nvPr/>
        </p:nvSpPr>
        <p:spPr bwMode="auto">
          <a:xfrm>
            <a:off x="7104000" y="2568358"/>
            <a:ext cx="288000" cy="288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endParaRPr lang="de-DE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1" name="Rectangle 13"/>
          <p:cNvSpPr>
            <a:spLocks noChangeAspect="1"/>
          </p:cNvSpPr>
          <p:nvPr/>
        </p:nvSpPr>
        <p:spPr bwMode="auto">
          <a:xfrm>
            <a:off x="7104000" y="2208358"/>
            <a:ext cx="288000" cy="288000"/>
          </a:xfrm>
          <a:prstGeom prst="ellipse">
            <a:avLst/>
          </a:prstGeom>
          <a:solidFill>
            <a:schemeClr val="bg1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81877" tIns="81877" rIns="81877" bIns="81877" numCol="1" rtlCol="0" anchor="ctr" anchorCtr="0" compatLnSpc="1">
            <a:prstTxWarp prst="textNoShape">
              <a:avLst/>
            </a:prstTxWarp>
          </a:bodyPr>
          <a:lstStyle/>
          <a:p>
            <a:pPr algn="ctr" defTabSz="831875"/>
            <a:endParaRPr lang="de-DE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8184000" y="2208358"/>
            <a:ext cx="294338" cy="294338"/>
            <a:chOff x="6660000" y="2061000"/>
            <a:chExt cx="294338" cy="294338"/>
          </a:xfrm>
        </p:grpSpPr>
        <p:sp>
          <p:nvSpPr>
            <p:cNvPr id="133" name="Rectangle 13"/>
            <p:cNvSpPr>
              <a:spLocks noChangeAspect="1"/>
            </p:cNvSpPr>
            <p:nvPr/>
          </p:nvSpPr>
          <p:spPr bwMode="auto">
            <a:xfrm>
              <a:off x="6660000" y="2061000"/>
              <a:ext cx="288000" cy="288000"/>
            </a:xfrm>
            <a:prstGeom prst="ellipse">
              <a:avLst/>
            </a:prstGeom>
            <a:solidFill>
              <a:schemeClr val="tx2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0" name="Rectangle 13"/>
            <p:cNvSpPr>
              <a:spLocks noChangeAspect="1"/>
            </p:cNvSpPr>
            <p:nvPr/>
          </p:nvSpPr>
          <p:spPr bwMode="auto">
            <a:xfrm rot="16200000">
              <a:off x="6660000" y="2061000"/>
              <a:ext cx="294338" cy="294338"/>
            </a:xfrm>
            <a:prstGeom prst="pie">
              <a:avLst>
                <a:gd name="adj1" fmla="val 16170048"/>
                <a:gd name="adj2" fmla="val 21588699"/>
              </a:avLst>
            </a:prstGeom>
            <a:solidFill>
              <a:schemeClr val="bg1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7824000" y="2208358"/>
            <a:ext cx="288000" cy="288000"/>
            <a:chOff x="6300000" y="2061000"/>
            <a:chExt cx="288000" cy="288000"/>
          </a:xfrm>
        </p:grpSpPr>
        <p:sp>
          <p:nvSpPr>
            <p:cNvPr id="132" name="Rectangle 13"/>
            <p:cNvSpPr>
              <a:spLocks noChangeAspect="1"/>
            </p:cNvSpPr>
            <p:nvPr/>
          </p:nvSpPr>
          <p:spPr bwMode="auto">
            <a:xfrm>
              <a:off x="6300000" y="2061000"/>
              <a:ext cx="288000" cy="288000"/>
            </a:xfrm>
            <a:prstGeom prst="ellipse">
              <a:avLst/>
            </a:prstGeom>
            <a:solidFill>
              <a:schemeClr val="tx2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6" name="Rectangle 13"/>
            <p:cNvSpPr>
              <a:spLocks noChangeAspect="1"/>
            </p:cNvSpPr>
            <p:nvPr/>
          </p:nvSpPr>
          <p:spPr bwMode="auto">
            <a:xfrm flipH="1">
              <a:off x="6300000" y="2061000"/>
              <a:ext cx="288000" cy="288000"/>
            </a:xfrm>
            <a:prstGeom prst="pie">
              <a:avLst>
                <a:gd name="adj1" fmla="val 16170048"/>
                <a:gd name="adj2" fmla="val 5427171"/>
              </a:avLst>
            </a:prstGeom>
            <a:solidFill>
              <a:schemeClr val="bg1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7464000" y="2208358"/>
            <a:ext cx="288000" cy="288000"/>
            <a:chOff x="5940000" y="2061000"/>
            <a:chExt cx="288000" cy="288000"/>
          </a:xfrm>
        </p:grpSpPr>
        <p:sp>
          <p:nvSpPr>
            <p:cNvPr id="129" name="Rectangle 13"/>
            <p:cNvSpPr>
              <a:spLocks noChangeAspect="1"/>
            </p:cNvSpPr>
            <p:nvPr/>
          </p:nvSpPr>
          <p:spPr bwMode="auto">
            <a:xfrm>
              <a:off x="5940000" y="2061000"/>
              <a:ext cx="288000" cy="288000"/>
            </a:xfrm>
            <a:prstGeom prst="ellipse">
              <a:avLst/>
            </a:prstGeom>
            <a:solidFill>
              <a:schemeClr val="tx2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37" name="Rectangle 13"/>
            <p:cNvSpPr>
              <a:spLocks noChangeAspect="1"/>
            </p:cNvSpPr>
            <p:nvPr/>
          </p:nvSpPr>
          <p:spPr bwMode="auto">
            <a:xfrm flipH="1">
              <a:off x="5940000" y="2061000"/>
              <a:ext cx="288000" cy="288000"/>
            </a:xfrm>
            <a:prstGeom prst="pie">
              <a:avLst>
                <a:gd name="adj1" fmla="val 16170048"/>
                <a:gd name="adj2" fmla="val 10811998"/>
              </a:avLst>
            </a:prstGeom>
            <a:solidFill>
              <a:schemeClr val="bg1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81877" tIns="81877" rIns="81877" bIns="8187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31875"/>
              <a:endParaRPr lang="de-DE" sz="1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77" name="Picture 76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776000" y="5229005"/>
            <a:ext cx="788588" cy="786315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2784000" y="5301000"/>
            <a:ext cx="720000" cy="720000"/>
          </a:xfrm>
          <a:prstGeom prst="rect">
            <a:avLst/>
          </a:prstGeom>
        </p:spPr>
      </p:pic>
      <p:pic>
        <p:nvPicPr>
          <p:cNvPr id="1026" name="Picture 2" descr="http://www.ajcctech.com/Images/AJCCtech-Pick-Up-And-Delivery-Computer-Support.jp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8005" y="5229000"/>
            <a:ext cx="794289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tekuk.co.uk/uploads/8/9/8/9/8989367/___671014_orig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000" y="5229000"/>
            <a:ext cx="936000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Isosceles Triangle 12"/>
          <p:cNvSpPr/>
          <p:nvPr/>
        </p:nvSpPr>
        <p:spPr>
          <a:xfrm rot="16200000">
            <a:off x="10746000" y="0"/>
            <a:ext cx="1440000" cy="14400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72000" tIns="72000" rIns="72000" bIns="72000" rtlCol="0" anchor="t" anchorCtr="0"/>
          <a:lstStyle/>
          <a:p>
            <a:pPr algn="r"/>
            <a:r>
              <a:rPr lang="de-DE" sz="1600" b="1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78876653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  <p:tag name="THINKCELLSHAPEDONOTDELETE" val="pBt.rh7ARCkuxt8OuTU.T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qlv2S4P0WpMkHsyax.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  <p:tag name="THINKCELLSHAPEDONOTDELETE" val="pzVbioLdi0U2CEd_lSzVE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xJbGuhXUWSPxR7hhps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  <p:tag name="THINKCELLSHAPEDONOTDELETE" val="puJvBHIVgfku8TGsFJPeJ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0uBFh1DDECzTfqt7kh.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  <p:tag name="THINKCELLSHAPEDONOTDELETE" val="ptdtjew_Sb0uaIMcQH8jY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therPlu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H84Isld0GWc4Gp5U7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t3TcBtZUGmJEqotD6g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glWGLK30.1aos161sB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T7Yu1CkKaqsFPtYUW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SSxXfAcEqRUvnyYN4C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ULwUvmikuBO.jgCCr0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DUzIr7V0iU2ema.8Kt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BQ.C82AEm4z6cQaSsP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3ZnJk9gkewNevuv0G6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lGrLPAz0qLXx36LPMi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lLq6fA3ka_p7hvkqc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X5cLvIQUSQB5T5xIbx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2K7Xl2NUyrW9hAje3Z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VreLdaUuQpz0ebeCk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0yxuymP0K9eX0GRUmz5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0yxuymP0K9eX0GRUmz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0yxuymP0K9eX0GRUmz5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0yxuymP0K9eX0GRUmz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KocRzspUW6rWvNQNL2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t3TcBtZUGmJEqotD6g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UvLIXuUS4EIOUJyBk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xQOjNYPEWjsNShZm.Y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NbJKms9U.qZx7JLfUn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NbJKms9U.qZx7JLfUn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NbJKms9U.qZx7JLfUn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NbJKms9U.qZx7JLfUn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yPI._sOka1Fn2SiriPS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VAcL9uA0W3JTVuLSyy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yOgD5gV06iBGvKGwyX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cPTJG1PEO0VN2ZcWKf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9gRJCjbU2c0m66taiyw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zngfdACEONexsWRKzC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67TfmtwEO2RPo7uIK3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ebprAL0iaaicBllTga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T7Yu1CkKaqsFPtYUW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SSxXfAcEqRUvnyYN4C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glWGLK30.1aos161sB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8lEHn_oUysTvobFmKkK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9gRJCjbU2c0m66taiy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8lEHn_oUysTvobFmKk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SZTK8Sw0yElmPw0A7tlQ"/>
</p:tagLst>
</file>

<file path=ppt/theme/theme1.xml><?xml version="1.0" encoding="utf-8"?>
<a:theme xmlns:a="http://schemas.openxmlformats.org/drawingml/2006/main" name="Axxiome Template PPT v021 Slides">
  <a:themeElements>
    <a:clrScheme name="Axxiome-neu">
      <a:dk1>
        <a:srgbClr val="000000"/>
      </a:dk1>
      <a:lt1>
        <a:srgbClr val="FFFFFF"/>
      </a:lt1>
      <a:dk2>
        <a:srgbClr val="00569B"/>
      </a:dk2>
      <a:lt2>
        <a:srgbClr val="FFFFFF"/>
      </a:lt2>
      <a:accent1>
        <a:srgbClr val="002663"/>
      </a:accent1>
      <a:accent2>
        <a:srgbClr val="00569B"/>
      </a:accent2>
      <a:accent3>
        <a:srgbClr val="335182"/>
      </a:accent3>
      <a:accent4>
        <a:srgbClr val="68ACE5"/>
      </a:accent4>
      <a:accent5>
        <a:srgbClr val="B3D5F2"/>
      </a:accent5>
      <a:accent6>
        <a:srgbClr val="666666"/>
      </a:accent6>
      <a:hlink>
        <a:srgbClr val="0072CF"/>
      </a:hlink>
      <a:folHlink>
        <a:srgbClr val="000000"/>
      </a:folHlink>
    </a:clrScheme>
    <a:fontScheme name="AXXIOM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kern="1200" cap="none" spc="-5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xxiome Presentation Template - 16 x 9 Format" id="{E1B39086-1FD4-4747-9AC4-CF12DF807C04}" vid="{57E559DB-25D1-4A7B-98D6-F419597E512E}"/>
    </a:ext>
  </a:extLst>
</a:theme>
</file>

<file path=ppt/theme/theme2.xml><?xml version="1.0" encoding="utf-8"?>
<a:theme xmlns:a="http://schemas.openxmlformats.org/drawingml/2006/main" name="AGENDA MODEL">
  <a:themeElements>
    <a:clrScheme name="Axxiome-neu">
      <a:dk1>
        <a:srgbClr val="000000"/>
      </a:dk1>
      <a:lt1>
        <a:srgbClr val="FFFFFF"/>
      </a:lt1>
      <a:dk2>
        <a:srgbClr val="00569B"/>
      </a:dk2>
      <a:lt2>
        <a:srgbClr val="FFFFFF"/>
      </a:lt2>
      <a:accent1>
        <a:srgbClr val="002663"/>
      </a:accent1>
      <a:accent2>
        <a:srgbClr val="00569B"/>
      </a:accent2>
      <a:accent3>
        <a:srgbClr val="335182"/>
      </a:accent3>
      <a:accent4>
        <a:srgbClr val="68ACE5"/>
      </a:accent4>
      <a:accent5>
        <a:srgbClr val="B3D5F2"/>
      </a:accent5>
      <a:accent6>
        <a:srgbClr val="666666"/>
      </a:accent6>
      <a:hlink>
        <a:srgbClr val="0072CF"/>
      </a:hlink>
      <a:folHlink>
        <a:srgbClr val="000000"/>
      </a:folHlink>
    </a:clrScheme>
    <a:fontScheme name="AXXIOM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xiome Presentation Template - 16 x 9 Format" id="{E1B39086-1FD4-4747-9AC4-CF12DF807C04}" vid="{3ED4CB8D-B566-4C95-8D31-FAE2019045E3}"/>
    </a:ext>
  </a:extLst>
</a:theme>
</file>

<file path=ppt/theme/theme3.xml><?xml version="1.0" encoding="utf-8"?>
<a:theme xmlns:a="http://schemas.openxmlformats.org/drawingml/2006/main" name="CONTENT MODEL">
  <a:themeElements>
    <a:clrScheme name="Axxiome-neu">
      <a:dk1>
        <a:srgbClr val="000000"/>
      </a:dk1>
      <a:lt1>
        <a:srgbClr val="FFFFFF"/>
      </a:lt1>
      <a:dk2>
        <a:srgbClr val="00569B"/>
      </a:dk2>
      <a:lt2>
        <a:srgbClr val="FFFFFF"/>
      </a:lt2>
      <a:accent1>
        <a:srgbClr val="002663"/>
      </a:accent1>
      <a:accent2>
        <a:srgbClr val="0072CF"/>
      </a:accent2>
      <a:accent3>
        <a:srgbClr val="335182"/>
      </a:accent3>
      <a:accent4>
        <a:srgbClr val="68ACE5"/>
      </a:accent4>
      <a:accent5>
        <a:srgbClr val="B3D5F2"/>
      </a:accent5>
      <a:accent6>
        <a:srgbClr val="666666"/>
      </a:accent6>
      <a:hlink>
        <a:srgbClr val="0072CF"/>
      </a:hlink>
      <a:folHlink>
        <a:srgbClr val="000000"/>
      </a:folHlink>
    </a:clrScheme>
    <a:fontScheme name="AXXIOM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D1E6F7"/>
        </a:solidFill>
        <a:ln>
          <a:noFill/>
        </a:ln>
        <a:extLst>
          <a:ext uri="{91240B29-F687-4F45-9708-019B960494DF}">
            <a14:hiddenLine xmlns:a14="http://schemas.microsoft.com/office/drawing/2010/main">
              <a:solidFill>
                <a:srgbClr val="858585"/>
              </a:solidFill>
            </a14:hiddenLine>
          </a:ext>
        </a:extLst>
      </a:spPr>
      <a:bodyPr vert="horz" lIns="72000" tIns="72000" rIns="72000" bIns="72000" rtlCol="0" anchor="t">
        <a:noAutofit/>
      </a:bodyPr>
      <a:lstStyle>
        <a:defPPr marL="176213" indent="-176213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xxiome Presentation Template - 16 x 9 Format" id="{E1B39086-1FD4-4747-9AC4-CF12DF807C04}" vid="{D8D9F847-BD2C-44AA-9A9F-1F889EA69F47}"/>
    </a:ext>
  </a:extLst>
</a:theme>
</file>

<file path=ppt/theme/theme4.xml><?xml version="1.0" encoding="utf-8"?>
<a:theme xmlns:a="http://schemas.openxmlformats.org/drawingml/2006/main" name="ENDING MODEL">
  <a:themeElements>
    <a:clrScheme name="Axxiome-neu">
      <a:dk1>
        <a:srgbClr val="000000"/>
      </a:dk1>
      <a:lt1>
        <a:srgbClr val="FFFFFF"/>
      </a:lt1>
      <a:dk2>
        <a:srgbClr val="00569B"/>
      </a:dk2>
      <a:lt2>
        <a:srgbClr val="FFFFFF"/>
      </a:lt2>
      <a:accent1>
        <a:srgbClr val="002663"/>
      </a:accent1>
      <a:accent2>
        <a:srgbClr val="00569B"/>
      </a:accent2>
      <a:accent3>
        <a:srgbClr val="335182"/>
      </a:accent3>
      <a:accent4>
        <a:srgbClr val="68ACE5"/>
      </a:accent4>
      <a:accent5>
        <a:srgbClr val="B3D5F2"/>
      </a:accent5>
      <a:accent6>
        <a:srgbClr val="666666"/>
      </a:accent6>
      <a:hlink>
        <a:srgbClr val="0072CF"/>
      </a:hlink>
      <a:folHlink>
        <a:srgbClr val="000000"/>
      </a:folHlink>
    </a:clrScheme>
    <a:fontScheme name="AXXIOM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kern="1200" cap="none" spc="-5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xxiome Presentation Template - 16 x 9 Format" id="{E1B39086-1FD4-4747-9AC4-CF12DF807C04}" vid="{DCA9D60E-40A0-4D9E-B243-D8F02A29F4FF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</TotalTime>
  <Words>2638</Words>
  <Application>Microsoft Office PowerPoint</Application>
  <PresentationFormat>Widescreen</PresentationFormat>
  <Paragraphs>928</Paragraphs>
  <Slides>5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2" baseType="lpstr">
      <vt:lpstr>ＭＳ Ｐゴシック</vt:lpstr>
      <vt:lpstr>Arial</vt:lpstr>
      <vt:lpstr>Arial Narrow</vt:lpstr>
      <vt:lpstr>Calibri</vt:lpstr>
      <vt:lpstr>Symbol</vt:lpstr>
      <vt:lpstr>Verdana</vt:lpstr>
      <vt:lpstr>Wingdings</vt:lpstr>
      <vt:lpstr>Axxiome Template PPT v021 Slides</vt:lpstr>
      <vt:lpstr>AGENDA MODEL</vt:lpstr>
      <vt:lpstr>CONTENT MODEL</vt:lpstr>
      <vt:lpstr>ENDING MODEL</vt:lpstr>
      <vt:lpstr>think-cell Folie</vt:lpstr>
      <vt:lpstr> CodeIgniter Workshop </vt:lpstr>
      <vt:lpstr>PowerPoint Presentation</vt:lpstr>
      <vt:lpstr>PowerPoint Presentation</vt:lpstr>
      <vt:lpstr>Thank You!</vt:lpstr>
      <vt:lpstr>Disclaimer</vt:lpstr>
      <vt:lpstr>PowerPoint Presentation</vt:lpstr>
      <vt:lpstr>Text Boxes</vt:lpstr>
      <vt:lpstr>Colour Chart</vt:lpstr>
      <vt:lpstr>Stickers / Logos</vt:lpstr>
      <vt:lpstr>Graphics</vt:lpstr>
      <vt:lpstr>Axxiome as SAP Partner</vt:lpstr>
      <vt:lpstr>Objectives</vt:lpstr>
      <vt:lpstr>Simple Text Based Slide</vt:lpstr>
      <vt:lpstr>Achievement of Objectives</vt:lpstr>
      <vt:lpstr>Next Steps </vt:lpstr>
      <vt:lpstr>Next Steps </vt:lpstr>
      <vt:lpstr>Agreements and Decisions</vt:lpstr>
      <vt:lpstr>Examples</vt:lpstr>
      <vt:lpstr>Key Messages</vt:lpstr>
      <vt:lpstr>Step Approach</vt:lpstr>
      <vt:lpstr>Roadmap</vt:lpstr>
      <vt:lpstr>Key Messages</vt:lpstr>
      <vt:lpstr>Options</vt:lpstr>
      <vt:lpstr>Workshop Agenda – One Column</vt:lpstr>
      <vt:lpstr>Workshop Agenda – Two Columns</vt:lpstr>
      <vt:lpstr>Column Diagram</vt:lpstr>
      <vt:lpstr>GANTT</vt:lpstr>
      <vt:lpstr>Graphics</vt:lpstr>
      <vt:lpstr>Situation-Complication</vt:lpstr>
      <vt:lpstr>Situation-Complication</vt:lpstr>
      <vt:lpstr>Situation-Complication</vt:lpstr>
      <vt:lpstr>Situation-Complication</vt:lpstr>
      <vt:lpstr>Situation-Complication</vt:lpstr>
      <vt:lpstr>Options</vt:lpstr>
      <vt:lpstr>Options</vt:lpstr>
      <vt:lpstr>Options</vt:lpstr>
      <vt:lpstr>Pros and Cons</vt:lpstr>
      <vt:lpstr>Process</vt:lpstr>
      <vt:lpstr>Process</vt:lpstr>
      <vt:lpstr>4 Aspects</vt:lpstr>
      <vt:lpstr>3 Aspects</vt:lpstr>
      <vt:lpstr>3 Phases</vt:lpstr>
      <vt:lpstr>Opportunities and risks</vt:lpstr>
      <vt:lpstr>Gear wheels</vt:lpstr>
      <vt:lpstr>Lists</vt:lpstr>
      <vt:lpstr>Next steps</vt:lpstr>
      <vt:lpstr>Consequences</vt:lpstr>
      <vt:lpstr>Matrix</vt:lpstr>
      <vt:lpstr>Project Organization</vt:lpstr>
      <vt:lpstr>Organization</vt:lpstr>
    </vt:vector>
  </TitlesOfParts>
  <Company>Axxiom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CodeIgniter Workshop </dc:title>
  <dc:creator>Jan Jarosz</dc:creator>
  <cp:lastModifiedBy>Jan Jarosz</cp:lastModifiedBy>
  <cp:revision>3</cp:revision>
  <dcterms:created xsi:type="dcterms:W3CDTF">2017-11-02T10:25:08Z</dcterms:created>
  <dcterms:modified xsi:type="dcterms:W3CDTF">2017-11-02T10:41:03Z</dcterms:modified>
</cp:coreProperties>
</file>